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07" r:id="rId5"/>
    <p:sldId id="319" r:id="rId6"/>
    <p:sldId id="320" r:id="rId7"/>
    <p:sldId id="322" r:id="rId8"/>
    <p:sldId id="316" r:id="rId9"/>
    <p:sldId id="323" r:id="rId10"/>
    <p:sldId id="324" r:id="rId11"/>
  </p:sldIdLst>
  <p:sldSz cx="12192000" cy="6858000"/>
  <p:notesSz cx="6886575" cy="10018713"/>
  <p:embeddedFontLst>
    <p:embeddedFont>
      <p:font typeface="EON Brix Sans" panose="020B0500000000000000" pitchFamily="34" charset="-18"/>
      <p:regular r:id="rId14"/>
      <p:bold r:id="rId15"/>
      <p:italic r:id="rId16"/>
      <p:boldItalic r:id="rId17"/>
    </p:embeddedFont>
    <p:embeddedFont>
      <p:font typeface="EON Office Head" pitchFamily="2" charset="-18"/>
      <p:regular r:id="rId18"/>
    </p:embeddedFont>
  </p:embeddedFontLst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A26176-35F5-484D-89EE-CEB63EC75827}" v="1" dt="2025-09-04T07:28:57.895"/>
    <p1510:client id="{A76EF01A-AC0A-4BBA-A558-A0B6012DC963}" v="27" dt="2025-09-04T08:33:21.612"/>
    <p1510:client id="{E8C3E3EB-3D17-4C2F-BD54-86C6AB0ADEA0}" v="5" dt="2025-09-04T08:45:06.475"/>
  </p1510:revLst>
</p1510:revInfo>
</file>

<file path=ppt/tableStyles.xml><?xml version="1.0" encoding="utf-8"?>
<a:tblStyleLst xmlns:a="http://schemas.openxmlformats.org/drawingml/2006/main" def="{F2DE63D5-997A-4646-A377-4702673A728D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319" autoAdjust="0"/>
  </p:normalViewPr>
  <p:slideViewPr>
    <p:cSldViewPr snapToGrid="0">
      <p:cViewPr varScale="1">
        <p:scale>
          <a:sx n="52" d="100"/>
          <a:sy n="52" d="100"/>
        </p:scale>
        <p:origin x="113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üveges, Judit" userId="ddf89749-cfe7-46be-b5ce-6b0e6b0cc9c0" providerId="ADAL" clId="{3CE2DDEB-FB93-4A1E-96EF-252CBDAAF327}"/>
    <pc:docChg chg="modSld">
      <pc:chgData name="Süveges, Judit" userId="ddf89749-cfe7-46be-b5ce-6b0e6b0cc9c0" providerId="ADAL" clId="{3CE2DDEB-FB93-4A1E-96EF-252CBDAAF327}" dt="2025-09-04T08:50:16.653" v="212" actId="20577"/>
      <pc:docMkLst>
        <pc:docMk/>
      </pc:docMkLst>
      <pc:sldChg chg="modSp mod">
        <pc:chgData name="Süveges, Judit" userId="ddf89749-cfe7-46be-b5ce-6b0e6b0cc9c0" providerId="ADAL" clId="{3CE2DDEB-FB93-4A1E-96EF-252CBDAAF327}" dt="2025-09-04T08:50:16.653" v="212" actId="20577"/>
        <pc:sldMkLst>
          <pc:docMk/>
          <pc:sldMk cId="851644317" sldId="320"/>
        </pc:sldMkLst>
        <pc:spChg chg="mod">
          <ac:chgData name="Süveges, Judit" userId="ddf89749-cfe7-46be-b5ce-6b0e6b0cc9c0" providerId="ADAL" clId="{3CE2DDEB-FB93-4A1E-96EF-252CBDAAF327}" dt="2025-09-04T08:50:16.653" v="212" actId="20577"/>
          <ac:spMkLst>
            <pc:docMk/>
            <pc:sldMk cId="851644317" sldId="320"/>
            <ac:spMk id="5" creationId="{B3FBCE55-EE91-749A-DCCF-2923FD43F260}"/>
          </ac:spMkLst>
        </pc:spChg>
      </pc:sldChg>
    </pc:docChg>
  </pc:docChgLst>
  <pc:docChgLst>
    <pc:chgData name="Laczkó, Kitti" userId="S::k40636@eon.com::9527d446-0d63-4181-87d5-ea091d8ed676" providerId="AD" clId="Web-{76CCE14B-8C22-D2E6-65A7-B139D5DB988A}"/>
    <pc:docChg chg="modSld">
      <pc:chgData name="Laczkó, Kitti" userId="S::k40636@eon.com::9527d446-0d63-4181-87d5-ea091d8ed676" providerId="AD" clId="Web-{76CCE14B-8C22-D2E6-65A7-B139D5DB988A}" dt="2025-09-01T08:11:55.400" v="21" actId="20577"/>
      <pc:docMkLst>
        <pc:docMk/>
      </pc:docMkLst>
      <pc:sldChg chg="modSp">
        <pc:chgData name="Laczkó, Kitti" userId="S::k40636@eon.com::9527d446-0d63-4181-87d5-ea091d8ed676" providerId="AD" clId="Web-{76CCE14B-8C22-D2E6-65A7-B139D5DB988A}" dt="2025-09-01T08:07:24.002" v="3" actId="20577"/>
        <pc:sldMkLst>
          <pc:docMk/>
          <pc:sldMk cId="1716370346" sldId="293"/>
        </pc:sldMkLst>
      </pc:sldChg>
      <pc:sldChg chg="modSp">
        <pc:chgData name="Laczkó, Kitti" userId="S::k40636@eon.com::9527d446-0d63-4181-87d5-ea091d8ed676" providerId="AD" clId="Web-{76CCE14B-8C22-D2E6-65A7-B139D5DB988A}" dt="2025-09-01T08:09:45.647" v="13" actId="20577"/>
        <pc:sldMkLst>
          <pc:docMk/>
          <pc:sldMk cId="858574129" sldId="308"/>
        </pc:sldMkLst>
      </pc:sldChg>
      <pc:sldChg chg="modSp">
        <pc:chgData name="Laczkó, Kitti" userId="S::k40636@eon.com::9527d446-0d63-4181-87d5-ea091d8ed676" providerId="AD" clId="Web-{76CCE14B-8C22-D2E6-65A7-B139D5DB988A}" dt="2025-09-01T08:07:14.502" v="2" actId="20577"/>
        <pc:sldMkLst>
          <pc:docMk/>
          <pc:sldMk cId="1295554591" sldId="311"/>
        </pc:sldMkLst>
      </pc:sldChg>
      <pc:sldChg chg="modSp">
        <pc:chgData name="Laczkó, Kitti" userId="S::k40636@eon.com::9527d446-0d63-4181-87d5-ea091d8ed676" providerId="AD" clId="Web-{76CCE14B-8C22-D2E6-65A7-B139D5DB988A}" dt="2025-09-01T08:07:56.753" v="6" actId="20577"/>
        <pc:sldMkLst>
          <pc:docMk/>
          <pc:sldMk cId="183601033" sldId="312"/>
        </pc:sldMkLst>
      </pc:sldChg>
      <pc:sldChg chg="modSp">
        <pc:chgData name="Laczkó, Kitti" userId="S::k40636@eon.com::9527d446-0d63-4181-87d5-ea091d8ed676" providerId="AD" clId="Web-{76CCE14B-8C22-D2E6-65A7-B139D5DB988A}" dt="2025-09-01T08:11:55.400" v="21" actId="20577"/>
        <pc:sldMkLst>
          <pc:docMk/>
          <pc:sldMk cId="2618800986" sldId="315"/>
        </pc:sldMkLst>
      </pc:sldChg>
      <pc:sldChg chg="modSp">
        <pc:chgData name="Laczkó, Kitti" userId="S::k40636@eon.com::9527d446-0d63-4181-87d5-ea091d8ed676" providerId="AD" clId="Web-{76CCE14B-8C22-D2E6-65A7-B139D5DB988A}" dt="2025-09-01T08:11:21.337" v="20"/>
        <pc:sldMkLst>
          <pc:docMk/>
          <pc:sldMk cId="2159913983" sldId="317"/>
        </pc:sldMkLst>
      </pc:sldChg>
    </pc:docChg>
  </pc:docChgLst>
  <pc:docChgLst>
    <pc:chgData name="Süveges, Judit" userId="ddf89749-cfe7-46be-b5ce-6b0e6b0cc9c0" providerId="ADAL" clId="{2DA26176-35F5-484D-89EE-CEB63EC75827}"/>
    <pc:docChg chg="custSel modSld">
      <pc:chgData name="Süveges, Judit" userId="ddf89749-cfe7-46be-b5ce-6b0e6b0cc9c0" providerId="ADAL" clId="{2DA26176-35F5-484D-89EE-CEB63EC75827}" dt="2025-09-04T07:31:01.962" v="2" actId="113"/>
      <pc:docMkLst>
        <pc:docMk/>
      </pc:docMkLst>
      <pc:sldChg chg="addSp delSp modSp mod">
        <pc:chgData name="Süveges, Judit" userId="ddf89749-cfe7-46be-b5ce-6b0e6b0cc9c0" providerId="ADAL" clId="{2DA26176-35F5-484D-89EE-CEB63EC75827}" dt="2025-09-04T07:28:57.895" v="1"/>
        <pc:sldMkLst>
          <pc:docMk/>
          <pc:sldMk cId="2325404486" sldId="307"/>
        </pc:sldMkLst>
        <pc:spChg chg="add mod">
          <ac:chgData name="Süveges, Judit" userId="ddf89749-cfe7-46be-b5ce-6b0e6b0cc9c0" providerId="ADAL" clId="{2DA26176-35F5-484D-89EE-CEB63EC75827}" dt="2025-09-04T07:28:57.895" v="1"/>
          <ac:spMkLst>
            <pc:docMk/>
            <pc:sldMk cId="2325404486" sldId="307"/>
            <ac:spMk id="4" creationId="{F1C2363D-2A27-FB76-677E-3B1BD70356F2}"/>
          </ac:spMkLst>
        </pc:spChg>
        <pc:spChg chg="del">
          <ac:chgData name="Süveges, Judit" userId="ddf89749-cfe7-46be-b5ce-6b0e6b0cc9c0" providerId="ADAL" clId="{2DA26176-35F5-484D-89EE-CEB63EC75827}" dt="2025-09-04T07:28:55.142" v="0" actId="21"/>
          <ac:spMkLst>
            <pc:docMk/>
            <pc:sldMk cId="2325404486" sldId="307"/>
            <ac:spMk id="7" creationId="{F1C2363D-2A27-FB76-677E-3B1BD70356F2}"/>
          </ac:spMkLst>
        </pc:spChg>
      </pc:sldChg>
      <pc:sldChg chg="modSp mod">
        <pc:chgData name="Süveges, Judit" userId="ddf89749-cfe7-46be-b5ce-6b0e6b0cc9c0" providerId="ADAL" clId="{2DA26176-35F5-484D-89EE-CEB63EC75827}" dt="2025-09-04T07:31:01.962" v="2" actId="113"/>
        <pc:sldMkLst>
          <pc:docMk/>
          <pc:sldMk cId="858574129" sldId="308"/>
        </pc:sldMkLst>
        <pc:spChg chg="mod">
          <ac:chgData name="Süveges, Judit" userId="ddf89749-cfe7-46be-b5ce-6b0e6b0cc9c0" providerId="ADAL" clId="{2DA26176-35F5-484D-89EE-CEB63EC75827}" dt="2025-09-04T07:31:01.962" v="2" actId="113"/>
          <ac:spMkLst>
            <pc:docMk/>
            <pc:sldMk cId="858574129" sldId="308"/>
            <ac:spMk id="12" creationId="{46B82C7E-E7B4-D347-E79E-D4F909A8A97C}"/>
          </ac:spMkLst>
        </pc:spChg>
      </pc:sldChg>
    </pc:docChg>
  </pc:docChgLst>
  <pc:docChgLst>
    <pc:chgData name="Süveges, Judit" userId="ddf89749-cfe7-46be-b5ce-6b0e6b0cc9c0" providerId="ADAL" clId="{A76EF01A-AC0A-4BBA-A558-A0B6012DC963}"/>
    <pc:docChg chg="undo custSel addSld delSld modSld">
      <pc:chgData name="Süveges, Judit" userId="ddf89749-cfe7-46be-b5ce-6b0e6b0cc9c0" providerId="ADAL" clId="{A76EF01A-AC0A-4BBA-A558-A0B6012DC963}" dt="2025-09-04T08:37:10.922" v="2743" actId="20577"/>
      <pc:docMkLst>
        <pc:docMk/>
      </pc:docMkLst>
      <pc:sldChg chg="del">
        <pc:chgData name="Süveges, Judit" userId="ddf89749-cfe7-46be-b5ce-6b0e6b0cc9c0" providerId="ADAL" clId="{A76EF01A-AC0A-4BBA-A558-A0B6012DC963}" dt="2025-09-04T08:12:15.708" v="1980" actId="47"/>
        <pc:sldMkLst>
          <pc:docMk/>
          <pc:sldMk cId="1716370346" sldId="293"/>
        </pc:sldMkLst>
      </pc:sldChg>
      <pc:sldChg chg="del">
        <pc:chgData name="Süveges, Judit" userId="ddf89749-cfe7-46be-b5ce-6b0e6b0cc9c0" providerId="ADAL" clId="{A76EF01A-AC0A-4BBA-A558-A0B6012DC963}" dt="2025-09-04T08:12:16.610" v="1981" actId="47"/>
        <pc:sldMkLst>
          <pc:docMk/>
          <pc:sldMk cId="492916413" sldId="299"/>
        </pc:sldMkLst>
      </pc:sldChg>
      <pc:sldChg chg="modSp mod">
        <pc:chgData name="Süveges, Judit" userId="ddf89749-cfe7-46be-b5ce-6b0e6b0cc9c0" providerId="ADAL" clId="{A76EF01A-AC0A-4BBA-A558-A0B6012DC963}" dt="2025-09-04T07:32:33.613" v="46" actId="1076"/>
        <pc:sldMkLst>
          <pc:docMk/>
          <pc:sldMk cId="2325404486" sldId="307"/>
        </pc:sldMkLst>
        <pc:spChg chg="mod">
          <ac:chgData name="Süveges, Judit" userId="ddf89749-cfe7-46be-b5ce-6b0e6b0cc9c0" providerId="ADAL" clId="{A76EF01A-AC0A-4BBA-A558-A0B6012DC963}" dt="2025-09-04T07:32:33.613" v="46" actId="1076"/>
          <ac:spMkLst>
            <pc:docMk/>
            <pc:sldMk cId="2325404486" sldId="307"/>
            <ac:spMk id="5" creationId="{DA6DC362-4A3C-E03E-4C97-82CECA8BDECD}"/>
          </ac:spMkLst>
        </pc:spChg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858574129" sldId="308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639640728" sldId="309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667876991" sldId="310"/>
        </pc:sldMkLst>
      </pc:sldChg>
      <pc:sldChg chg="del">
        <pc:chgData name="Süveges, Judit" userId="ddf89749-cfe7-46be-b5ce-6b0e6b0cc9c0" providerId="ADAL" clId="{A76EF01A-AC0A-4BBA-A558-A0B6012DC963}" dt="2025-09-04T08:12:14.201" v="1979" actId="47"/>
        <pc:sldMkLst>
          <pc:docMk/>
          <pc:sldMk cId="1295554591" sldId="311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183601033" sldId="312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305740346" sldId="313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646046934" sldId="314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618800986" sldId="315"/>
        </pc:sldMkLst>
      </pc:sldChg>
      <pc:sldChg chg="del">
        <pc:chgData name="Süveges, Judit" userId="ddf89749-cfe7-46be-b5ce-6b0e6b0cc9c0" providerId="ADAL" clId="{A76EF01A-AC0A-4BBA-A558-A0B6012DC963}" dt="2025-09-04T08:12:20.667" v="1982" actId="47"/>
        <pc:sldMkLst>
          <pc:docMk/>
          <pc:sldMk cId="2159913983" sldId="317"/>
        </pc:sldMkLst>
      </pc:sldChg>
      <pc:sldChg chg="new del">
        <pc:chgData name="Süveges, Judit" userId="ddf89749-cfe7-46be-b5ce-6b0e6b0cc9c0" providerId="ADAL" clId="{A76EF01A-AC0A-4BBA-A558-A0B6012DC963}" dt="2025-09-04T07:37:13.995" v="160" actId="47"/>
        <pc:sldMkLst>
          <pc:docMk/>
          <pc:sldMk cId="3295795553" sldId="318"/>
        </pc:sldMkLst>
      </pc:sldChg>
      <pc:sldChg chg="addSp delSp modSp new del mod">
        <pc:chgData name="Süveges, Judit" userId="ddf89749-cfe7-46be-b5ce-6b0e6b0cc9c0" providerId="ADAL" clId="{A76EF01A-AC0A-4BBA-A558-A0B6012DC963}" dt="2025-09-04T07:35:47.231" v="53" actId="47"/>
        <pc:sldMkLst>
          <pc:docMk/>
          <pc:sldMk cId="2447580703" sldId="319"/>
        </pc:sldMkLst>
        <pc:spChg chg="mod">
          <ac:chgData name="Süveges, Judit" userId="ddf89749-cfe7-46be-b5ce-6b0e6b0cc9c0" providerId="ADAL" clId="{A76EF01A-AC0A-4BBA-A558-A0B6012DC963}" dt="2025-09-04T07:35:35.400" v="51"/>
          <ac:spMkLst>
            <pc:docMk/>
            <pc:sldMk cId="2447580703" sldId="319"/>
            <ac:spMk id="5" creationId="{2C3F7A89-0F64-9B13-580D-E72154373C10}"/>
          </ac:spMkLst>
        </pc:spChg>
        <pc:spChg chg="del">
          <ac:chgData name="Süveges, Judit" userId="ddf89749-cfe7-46be-b5ce-6b0e6b0cc9c0" providerId="ADAL" clId="{A76EF01A-AC0A-4BBA-A558-A0B6012DC963}" dt="2025-09-04T07:35:20.486" v="49"/>
          <ac:spMkLst>
            <pc:docMk/>
            <pc:sldMk cId="2447580703" sldId="319"/>
            <ac:spMk id="6" creationId="{C0704BFC-1521-0E7A-C4DB-FBF2A12DDE23}"/>
          </ac:spMkLst>
        </pc:spChg>
        <pc:spChg chg="add mod">
          <ac:chgData name="Süveges, Judit" userId="ddf89749-cfe7-46be-b5ce-6b0e6b0cc9c0" providerId="ADAL" clId="{A76EF01A-AC0A-4BBA-A558-A0B6012DC963}" dt="2025-09-04T07:35:44.098" v="52" actId="108"/>
          <ac:spMkLst>
            <pc:docMk/>
            <pc:sldMk cId="2447580703" sldId="319"/>
            <ac:spMk id="7" creationId="{C0FD2540-D4F8-7ED3-895B-5401AFCCFE7C}"/>
          </ac:spMkLst>
        </pc:spChg>
      </pc:sldChg>
      <pc:sldChg chg="addSp delSp modSp new mod">
        <pc:chgData name="Süveges, Judit" userId="ddf89749-cfe7-46be-b5ce-6b0e6b0cc9c0" providerId="ADAL" clId="{A76EF01A-AC0A-4BBA-A558-A0B6012DC963}" dt="2025-09-04T07:53:13.730" v="467" actId="167"/>
        <pc:sldMkLst>
          <pc:docMk/>
          <pc:sldMk cId="2504554051" sldId="319"/>
        </pc:sldMkLst>
        <pc:spChg chg="mod">
          <ac:chgData name="Süveges, Judit" userId="ddf89749-cfe7-46be-b5ce-6b0e6b0cc9c0" providerId="ADAL" clId="{A76EF01A-AC0A-4BBA-A558-A0B6012DC963}" dt="2025-09-04T07:50:31.765" v="425" actId="1035"/>
          <ac:spMkLst>
            <pc:docMk/>
            <pc:sldMk cId="2504554051" sldId="319"/>
            <ac:spMk id="2" creationId="{13D61053-875C-6FA1-CACA-E6D02863C4CA}"/>
          </ac:spMkLst>
        </pc:spChg>
        <pc:spChg chg="del">
          <ac:chgData name="Süveges, Judit" userId="ddf89749-cfe7-46be-b5ce-6b0e6b0cc9c0" providerId="ADAL" clId="{A76EF01A-AC0A-4BBA-A558-A0B6012DC963}" dt="2025-09-04T07:39:50.117" v="206" actId="931"/>
          <ac:spMkLst>
            <pc:docMk/>
            <pc:sldMk cId="2504554051" sldId="319"/>
            <ac:spMk id="4" creationId="{17415DA2-183E-031F-4451-19002A261E6C}"/>
          </ac:spMkLst>
        </pc:spChg>
        <pc:spChg chg="add del mod">
          <ac:chgData name="Süveges, Judit" userId="ddf89749-cfe7-46be-b5ce-6b0e6b0cc9c0" providerId="ADAL" clId="{A76EF01A-AC0A-4BBA-A558-A0B6012DC963}" dt="2025-09-04T07:49:28.889" v="370" actId="12"/>
          <ac:spMkLst>
            <pc:docMk/>
            <pc:sldMk cId="2504554051" sldId="319"/>
            <ac:spMk id="5" creationId="{965FB5E2-7769-5891-E0EF-331DB32276F8}"/>
          </ac:spMkLst>
        </pc:spChg>
        <pc:spChg chg="mod">
          <ac:chgData name="Süveges, Judit" userId="ddf89749-cfe7-46be-b5ce-6b0e6b0cc9c0" providerId="ADAL" clId="{A76EF01A-AC0A-4BBA-A558-A0B6012DC963}" dt="2025-09-04T07:38:14.887" v="163" actId="6549"/>
          <ac:spMkLst>
            <pc:docMk/>
            <pc:sldMk cId="2504554051" sldId="319"/>
            <ac:spMk id="6" creationId="{38B6303C-E3F4-58A9-26B9-1FC483B16A4A}"/>
          </ac:spMkLst>
        </pc:spChg>
        <pc:spChg chg="add mod">
          <ac:chgData name="Süveges, Judit" userId="ddf89749-cfe7-46be-b5ce-6b0e6b0cc9c0" providerId="ADAL" clId="{A76EF01A-AC0A-4BBA-A558-A0B6012DC963}" dt="2025-09-04T07:38:29.400" v="165"/>
          <ac:spMkLst>
            <pc:docMk/>
            <pc:sldMk cId="2504554051" sldId="319"/>
            <ac:spMk id="7" creationId="{03DD65FF-D13E-6521-1D7B-53EB88F92768}"/>
          </ac:spMkLst>
        </pc:spChg>
        <pc:spChg chg="add del mod">
          <ac:chgData name="Süveges, Judit" userId="ddf89749-cfe7-46be-b5ce-6b0e6b0cc9c0" providerId="ADAL" clId="{A76EF01A-AC0A-4BBA-A558-A0B6012DC963}" dt="2025-09-04T07:40:00.444" v="208" actId="478"/>
          <ac:spMkLst>
            <pc:docMk/>
            <pc:sldMk cId="2504554051" sldId="319"/>
            <ac:spMk id="11" creationId="{D0541739-E3AD-3AE1-3A39-92D204AE55F9}"/>
          </ac:spMkLst>
        </pc:spChg>
        <pc:spChg chg="add mod">
          <ac:chgData name="Süveges, Judit" userId="ddf89749-cfe7-46be-b5ce-6b0e6b0cc9c0" providerId="ADAL" clId="{A76EF01A-AC0A-4BBA-A558-A0B6012DC963}" dt="2025-09-04T07:52:09.283" v="442" actId="20577"/>
          <ac:spMkLst>
            <pc:docMk/>
            <pc:sldMk cId="2504554051" sldId="319"/>
            <ac:spMk id="13" creationId="{11ECBEE1-2F42-225C-C559-3BBC236DFA45}"/>
          </ac:spMkLst>
        </pc:spChg>
        <pc:spChg chg="add mod ord">
          <ac:chgData name="Süveges, Judit" userId="ddf89749-cfe7-46be-b5ce-6b0e6b0cc9c0" providerId="ADAL" clId="{A76EF01A-AC0A-4BBA-A558-A0B6012DC963}" dt="2025-09-04T07:49:03.216" v="357" actId="14100"/>
          <ac:spMkLst>
            <pc:docMk/>
            <pc:sldMk cId="2504554051" sldId="319"/>
            <ac:spMk id="14" creationId="{DBFEAC77-88A1-B534-7D04-688DA800FB0E}"/>
          </ac:spMkLst>
        </pc:spChg>
        <pc:spChg chg="add del mod">
          <ac:chgData name="Süveges, Judit" userId="ddf89749-cfe7-46be-b5ce-6b0e6b0cc9c0" providerId="ADAL" clId="{A76EF01A-AC0A-4BBA-A558-A0B6012DC963}" dt="2025-09-04T07:45:13.793" v="291" actId="478"/>
          <ac:spMkLst>
            <pc:docMk/>
            <pc:sldMk cId="2504554051" sldId="319"/>
            <ac:spMk id="16" creationId="{3D0C51D0-DAE1-0B42-78BC-15CA481A1CD1}"/>
          </ac:spMkLst>
        </pc:spChg>
        <pc:spChg chg="add del mod">
          <ac:chgData name="Süveges, Judit" userId="ddf89749-cfe7-46be-b5ce-6b0e6b0cc9c0" providerId="ADAL" clId="{A76EF01A-AC0A-4BBA-A558-A0B6012DC963}" dt="2025-09-04T07:51:03.668" v="428" actId="478"/>
          <ac:spMkLst>
            <pc:docMk/>
            <pc:sldMk cId="2504554051" sldId="319"/>
            <ac:spMk id="18" creationId="{523A9B2C-5AA4-7EAF-AD1A-A0D823937AEE}"/>
          </ac:spMkLst>
        </pc:spChg>
        <pc:spChg chg="add mod">
          <ac:chgData name="Süveges, Judit" userId="ddf89749-cfe7-46be-b5ce-6b0e6b0cc9c0" providerId="ADAL" clId="{A76EF01A-AC0A-4BBA-A558-A0B6012DC963}" dt="2025-09-04T07:53:06.296" v="464" actId="207"/>
          <ac:spMkLst>
            <pc:docMk/>
            <pc:sldMk cId="2504554051" sldId="319"/>
            <ac:spMk id="20" creationId="{84094250-A24C-57C9-D701-3A32DE0111F0}"/>
          </ac:spMkLst>
        </pc:spChg>
        <pc:picChg chg="add del mod ord modCrop">
          <ac:chgData name="Süveges, Judit" userId="ddf89749-cfe7-46be-b5ce-6b0e6b0cc9c0" providerId="ADAL" clId="{A76EF01A-AC0A-4BBA-A558-A0B6012DC963}" dt="2025-09-04T07:51:01.078" v="427" actId="478"/>
          <ac:picMkLst>
            <pc:docMk/>
            <pc:sldMk cId="2504554051" sldId="319"/>
            <ac:picMk id="9" creationId="{285C606C-255C-10F4-95ED-4D840C9E46D3}"/>
          </ac:picMkLst>
        </pc:picChg>
        <pc:picChg chg="add mod ord modCrop">
          <ac:chgData name="Süveges, Judit" userId="ddf89749-cfe7-46be-b5ce-6b0e6b0cc9c0" providerId="ADAL" clId="{A76EF01A-AC0A-4BBA-A558-A0B6012DC963}" dt="2025-09-04T07:53:13.730" v="467" actId="167"/>
          <ac:picMkLst>
            <pc:docMk/>
            <pc:sldMk cId="2504554051" sldId="319"/>
            <ac:picMk id="19" creationId="{6EDD4A0D-23CB-F1AF-8D6B-786E285253DD}"/>
          </ac:picMkLst>
        </pc:picChg>
      </pc:sldChg>
      <pc:sldChg chg="addSp delSp modSp new mod">
        <pc:chgData name="Süveges, Judit" userId="ddf89749-cfe7-46be-b5ce-6b0e6b0cc9c0" providerId="ADAL" clId="{A76EF01A-AC0A-4BBA-A558-A0B6012DC963}" dt="2025-09-04T08:37:10.922" v="2743" actId="20577"/>
        <pc:sldMkLst>
          <pc:docMk/>
          <pc:sldMk cId="851644317" sldId="320"/>
        </pc:sldMkLst>
        <pc:spChg chg="del">
          <ac:chgData name="Süveges, Judit" userId="ddf89749-cfe7-46be-b5ce-6b0e6b0cc9c0" providerId="ADAL" clId="{A76EF01A-AC0A-4BBA-A558-A0B6012DC963}" dt="2025-09-04T07:52:45.520" v="460" actId="478"/>
          <ac:spMkLst>
            <pc:docMk/>
            <pc:sldMk cId="851644317" sldId="320"/>
            <ac:spMk id="2" creationId="{D19DCD48-7B4B-C3DF-3BDA-DA8BB7607F9C}"/>
          </ac:spMkLst>
        </pc:spChg>
        <pc:spChg chg="mod">
          <ac:chgData name="Süveges, Judit" userId="ddf89749-cfe7-46be-b5ce-6b0e6b0cc9c0" providerId="ADAL" clId="{A76EF01A-AC0A-4BBA-A558-A0B6012DC963}" dt="2025-09-04T08:37:10.922" v="2743" actId="20577"/>
          <ac:spMkLst>
            <pc:docMk/>
            <pc:sldMk cId="851644317" sldId="320"/>
            <ac:spMk id="4" creationId="{4004778D-1BC6-C19D-0D72-7A76F752C00C}"/>
          </ac:spMkLst>
        </pc:spChg>
        <pc:spChg chg="mod">
          <ac:chgData name="Süveges, Judit" userId="ddf89749-cfe7-46be-b5ce-6b0e6b0cc9c0" providerId="ADAL" clId="{A76EF01A-AC0A-4BBA-A558-A0B6012DC963}" dt="2025-09-04T08:35:54.815" v="2672" actId="207"/>
          <ac:spMkLst>
            <pc:docMk/>
            <pc:sldMk cId="851644317" sldId="320"/>
            <ac:spMk id="5" creationId="{B3FBCE55-EE91-749A-DCCF-2923FD43F260}"/>
          </ac:spMkLst>
        </pc:spChg>
        <pc:spChg chg="mod">
          <ac:chgData name="Süveges, Judit" userId="ddf89749-cfe7-46be-b5ce-6b0e6b0cc9c0" providerId="ADAL" clId="{A76EF01A-AC0A-4BBA-A558-A0B6012DC963}" dt="2025-09-04T08:13:32.392" v="2081" actId="20577"/>
          <ac:spMkLst>
            <pc:docMk/>
            <pc:sldMk cId="851644317" sldId="320"/>
            <ac:spMk id="6" creationId="{39FF864D-172F-0468-C0FF-FB5A19D608A8}"/>
          </ac:spMkLst>
        </pc:spChg>
        <pc:spChg chg="add mod">
          <ac:chgData name="Süveges, Judit" userId="ddf89749-cfe7-46be-b5ce-6b0e6b0cc9c0" providerId="ADAL" clId="{A76EF01A-AC0A-4BBA-A558-A0B6012DC963}" dt="2025-09-04T08:07:34" v="1687" actId="108"/>
          <ac:spMkLst>
            <pc:docMk/>
            <pc:sldMk cId="851644317" sldId="320"/>
            <ac:spMk id="7" creationId="{087772B6-1DFB-41E8-7324-00B66EE9B9A7}"/>
          </ac:spMkLst>
        </pc:spChg>
        <pc:spChg chg="add del mod">
          <ac:chgData name="Süveges, Judit" userId="ddf89749-cfe7-46be-b5ce-6b0e6b0cc9c0" providerId="ADAL" clId="{A76EF01A-AC0A-4BBA-A558-A0B6012DC963}" dt="2025-09-04T08:10:46.919" v="1874" actId="478"/>
          <ac:spMkLst>
            <pc:docMk/>
            <pc:sldMk cId="851644317" sldId="320"/>
            <ac:spMk id="8" creationId="{4BAFFEBE-1325-F844-2541-604476DD3C48}"/>
          </ac:spMkLst>
        </pc:spChg>
        <pc:spChg chg="add mod">
          <ac:chgData name="Süveges, Judit" userId="ddf89749-cfe7-46be-b5ce-6b0e6b0cc9c0" providerId="ADAL" clId="{A76EF01A-AC0A-4BBA-A558-A0B6012DC963}" dt="2025-09-04T08:36:11.192" v="2682" actId="255"/>
          <ac:spMkLst>
            <pc:docMk/>
            <pc:sldMk cId="851644317" sldId="320"/>
            <ac:spMk id="9" creationId="{35C8A2F5-790B-C394-B420-08019B111511}"/>
          </ac:spMkLst>
        </pc:spChg>
      </pc:sldChg>
      <pc:sldChg chg="modSp new del mod">
        <pc:chgData name="Süveges, Judit" userId="ddf89749-cfe7-46be-b5ce-6b0e6b0cc9c0" providerId="ADAL" clId="{A76EF01A-AC0A-4BBA-A558-A0B6012DC963}" dt="2025-09-04T08:12:12.185" v="1978" actId="47"/>
        <pc:sldMkLst>
          <pc:docMk/>
          <pc:sldMk cId="738873021" sldId="321"/>
        </pc:sldMkLst>
        <pc:spChg chg="mod">
          <ac:chgData name="Süveges, Judit" userId="ddf89749-cfe7-46be-b5ce-6b0e6b0cc9c0" providerId="ADAL" clId="{A76EF01A-AC0A-4BBA-A558-A0B6012DC963}" dt="2025-09-04T07:56:03.070" v="570" actId="20577"/>
          <ac:spMkLst>
            <pc:docMk/>
            <pc:sldMk cId="738873021" sldId="321"/>
            <ac:spMk id="6" creationId="{8D849581-0660-5ADE-EA6F-17528209E183}"/>
          </ac:spMkLst>
        </pc:spChg>
      </pc:sldChg>
      <pc:sldChg chg="addSp delSp modSp new mod">
        <pc:chgData name="Süveges, Judit" userId="ddf89749-cfe7-46be-b5ce-6b0e6b0cc9c0" providerId="ADAL" clId="{A76EF01A-AC0A-4BBA-A558-A0B6012DC963}" dt="2025-09-04T08:12:06.723" v="1977" actId="20577"/>
        <pc:sldMkLst>
          <pc:docMk/>
          <pc:sldMk cId="3072853376" sldId="322"/>
        </pc:sldMkLst>
        <pc:spChg chg="del">
          <ac:chgData name="Süveges, Judit" userId="ddf89749-cfe7-46be-b5ce-6b0e6b0cc9c0" providerId="ADAL" clId="{A76EF01A-AC0A-4BBA-A558-A0B6012DC963}" dt="2025-09-04T08:08:01.450" v="1700" actId="478"/>
          <ac:spMkLst>
            <pc:docMk/>
            <pc:sldMk cId="3072853376" sldId="322"/>
            <ac:spMk id="2" creationId="{19050EDE-B60D-5311-D11F-CB04868ACC57}"/>
          </ac:spMkLst>
        </pc:spChg>
        <pc:spChg chg="del">
          <ac:chgData name="Süveges, Judit" userId="ddf89749-cfe7-46be-b5ce-6b0e6b0cc9c0" providerId="ADAL" clId="{A76EF01A-AC0A-4BBA-A558-A0B6012DC963}" dt="2025-09-04T08:07:53.153" v="1698" actId="931"/>
          <ac:spMkLst>
            <pc:docMk/>
            <pc:sldMk cId="3072853376" sldId="322"/>
            <ac:spMk id="4" creationId="{92778E90-1026-0796-0AC0-FBD30187AE21}"/>
          </ac:spMkLst>
        </pc:spChg>
        <pc:spChg chg="mod">
          <ac:chgData name="Süveges, Judit" userId="ddf89749-cfe7-46be-b5ce-6b0e6b0cc9c0" providerId="ADAL" clId="{A76EF01A-AC0A-4BBA-A558-A0B6012DC963}" dt="2025-09-04T08:12:06.723" v="1977" actId="20577"/>
          <ac:spMkLst>
            <pc:docMk/>
            <pc:sldMk cId="3072853376" sldId="322"/>
            <ac:spMk id="5" creationId="{1F5171D6-A88D-0DE6-EB72-22FCB3DEAA10}"/>
          </ac:spMkLst>
        </pc:spChg>
        <pc:spChg chg="mod">
          <ac:chgData name="Süveges, Judit" userId="ddf89749-cfe7-46be-b5ce-6b0e6b0cc9c0" providerId="ADAL" clId="{A76EF01A-AC0A-4BBA-A558-A0B6012DC963}" dt="2025-09-04T08:07:47.461" v="1697" actId="20577"/>
          <ac:spMkLst>
            <pc:docMk/>
            <pc:sldMk cId="3072853376" sldId="322"/>
            <ac:spMk id="6" creationId="{A5E71592-FCF1-424E-390F-5681CA72ABED}"/>
          </ac:spMkLst>
        </pc:spChg>
        <pc:spChg chg="add mod">
          <ac:chgData name="Süveges, Judit" userId="ddf89749-cfe7-46be-b5ce-6b0e6b0cc9c0" providerId="ADAL" clId="{A76EF01A-AC0A-4BBA-A558-A0B6012DC963}" dt="2025-09-04T08:08:02.221" v="1701"/>
          <ac:spMkLst>
            <pc:docMk/>
            <pc:sldMk cId="3072853376" sldId="322"/>
            <ac:spMk id="9" creationId="{AB032C00-7AC1-5444-E587-D06CA128F5FF}"/>
          </ac:spMkLst>
        </pc:spChg>
        <pc:picChg chg="add mod">
          <ac:chgData name="Süveges, Judit" userId="ddf89749-cfe7-46be-b5ce-6b0e6b0cc9c0" providerId="ADAL" clId="{A76EF01A-AC0A-4BBA-A558-A0B6012DC963}" dt="2025-09-04T08:07:56.163" v="1699" actId="27614"/>
          <ac:picMkLst>
            <pc:docMk/>
            <pc:sldMk cId="3072853376" sldId="322"/>
            <ac:picMk id="8" creationId="{C7720297-ED0E-3035-E2D7-1F005FC064BC}"/>
          </ac:picMkLst>
        </pc:picChg>
      </pc:sldChg>
      <pc:sldChg chg="addSp modSp new mod">
        <pc:chgData name="Süveges, Judit" userId="ddf89749-cfe7-46be-b5ce-6b0e6b0cc9c0" providerId="ADAL" clId="{A76EF01A-AC0A-4BBA-A558-A0B6012DC963}" dt="2025-09-04T08:28:59.713" v="2418" actId="20577"/>
        <pc:sldMkLst>
          <pc:docMk/>
          <pc:sldMk cId="2961106036" sldId="323"/>
        </pc:sldMkLst>
        <pc:spChg chg="mod">
          <ac:chgData name="Süveges, Judit" userId="ddf89749-cfe7-46be-b5ce-6b0e6b0cc9c0" providerId="ADAL" clId="{A76EF01A-AC0A-4BBA-A558-A0B6012DC963}" dt="2025-09-04T08:23:05.798" v="2128"/>
          <ac:spMkLst>
            <pc:docMk/>
            <pc:sldMk cId="2961106036" sldId="323"/>
            <ac:spMk id="2" creationId="{DBC726D8-8991-DF75-3F27-C552580FA9A8}"/>
          </ac:spMkLst>
        </pc:spChg>
        <pc:spChg chg="mod">
          <ac:chgData name="Süveges, Judit" userId="ddf89749-cfe7-46be-b5ce-6b0e6b0cc9c0" providerId="ADAL" clId="{A76EF01A-AC0A-4BBA-A558-A0B6012DC963}" dt="2025-09-04T08:26:02.441" v="2225" actId="20577"/>
          <ac:spMkLst>
            <pc:docMk/>
            <pc:sldMk cId="2961106036" sldId="323"/>
            <ac:spMk id="4" creationId="{6EF41AAA-5D45-9265-CA1D-15B1BC35BA9B}"/>
          </ac:spMkLst>
        </pc:spChg>
        <pc:spChg chg="mod">
          <ac:chgData name="Süveges, Judit" userId="ddf89749-cfe7-46be-b5ce-6b0e6b0cc9c0" providerId="ADAL" clId="{A76EF01A-AC0A-4BBA-A558-A0B6012DC963}" dt="2025-09-04T08:28:59.713" v="2418" actId="20577"/>
          <ac:spMkLst>
            <pc:docMk/>
            <pc:sldMk cId="2961106036" sldId="323"/>
            <ac:spMk id="5" creationId="{3B66B55C-C484-A40E-35AB-5A456D9CE9C7}"/>
          </ac:spMkLst>
        </pc:spChg>
        <pc:spChg chg="add mod">
          <ac:chgData name="Süveges, Judit" userId="ddf89749-cfe7-46be-b5ce-6b0e6b0cc9c0" providerId="ADAL" clId="{A76EF01A-AC0A-4BBA-A558-A0B6012DC963}" dt="2025-09-04T08:28:49.699" v="2417" actId="113"/>
          <ac:spMkLst>
            <pc:docMk/>
            <pc:sldMk cId="2961106036" sldId="323"/>
            <ac:spMk id="7" creationId="{8E973B1E-597F-2048-4C84-4DBF7B24AA6E}"/>
          </ac:spMkLst>
        </pc:spChg>
        <pc:spChg chg="add mod">
          <ac:chgData name="Süveges, Judit" userId="ddf89749-cfe7-46be-b5ce-6b0e6b0cc9c0" providerId="ADAL" clId="{A76EF01A-AC0A-4BBA-A558-A0B6012DC963}" dt="2025-09-04T08:28:32.390" v="2415" actId="20577"/>
          <ac:spMkLst>
            <pc:docMk/>
            <pc:sldMk cId="2961106036" sldId="323"/>
            <ac:spMk id="9" creationId="{79BB60F9-3D2B-1D42-E0E4-756E4BC8AC40}"/>
          </ac:spMkLst>
        </pc:spChg>
        <pc:spChg chg="add mod ord">
          <ac:chgData name="Süveges, Judit" userId="ddf89749-cfe7-46be-b5ce-6b0e6b0cc9c0" providerId="ADAL" clId="{A76EF01A-AC0A-4BBA-A558-A0B6012DC963}" dt="2025-09-04T08:26:53.451" v="2235" actId="167"/>
          <ac:spMkLst>
            <pc:docMk/>
            <pc:sldMk cId="2961106036" sldId="323"/>
            <ac:spMk id="10" creationId="{19AB517E-85A3-45C6-3E28-32E3E00AE059}"/>
          </ac:spMkLst>
        </pc:spChg>
      </pc:sldChg>
      <pc:sldChg chg="modSp new mod">
        <pc:chgData name="Süveges, Judit" userId="ddf89749-cfe7-46be-b5ce-6b0e6b0cc9c0" providerId="ADAL" clId="{A76EF01A-AC0A-4BBA-A558-A0B6012DC963}" dt="2025-09-04T08:35:23.354" v="2671" actId="1035"/>
        <pc:sldMkLst>
          <pc:docMk/>
          <pc:sldMk cId="1143146771" sldId="324"/>
        </pc:sldMkLst>
        <pc:spChg chg="mod">
          <ac:chgData name="Süveges, Judit" userId="ddf89749-cfe7-46be-b5ce-6b0e6b0cc9c0" providerId="ADAL" clId="{A76EF01A-AC0A-4BBA-A558-A0B6012DC963}" dt="2025-09-04T08:29:35.997" v="2471"/>
          <ac:spMkLst>
            <pc:docMk/>
            <pc:sldMk cId="1143146771" sldId="324"/>
            <ac:spMk id="2" creationId="{E58B0157-64FF-7E62-B00B-485CFEF55CE3}"/>
          </ac:spMkLst>
        </pc:spChg>
        <pc:spChg chg="mod">
          <ac:chgData name="Süveges, Judit" userId="ddf89749-cfe7-46be-b5ce-6b0e6b0cc9c0" providerId="ADAL" clId="{A76EF01A-AC0A-4BBA-A558-A0B6012DC963}" dt="2025-09-04T08:35:23.354" v="2671" actId="1035"/>
          <ac:spMkLst>
            <pc:docMk/>
            <pc:sldMk cId="1143146771" sldId="324"/>
            <ac:spMk id="4" creationId="{0DEF3038-EDDA-32DA-B470-74576EA14837}"/>
          </ac:spMkLst>
        </pc:spChg>
        <pc:spChg chg="mod">
          <ac:chgData name="Süveges, Judit" userId="ddf89749-cfe7-46be-b5ce-6b0e6b0cc9c0" providerId="ADAL" clId="{A76EF01A-AC0A-4BBA-A558-A0B6012DC963}" dt="2025-09-04T08:34:16.087" v="2540" actId="20577"/>
          <ac:spMkLst>
            <pc:docMk/>
            <pc:sldMk cId="1143146771" sldId="324"/>
            <ac:spMk id="5" creationId="{D8FF2F67-D1CF-FECC-1BD5-EE88637B83F1}"/>
          </ac:spMkLst>
        </pc:spChg>
      </pc:sldChg>
    </pc:docChg>
  </pc:docChgLst>
  <pc:docChgLst>
    <pc:chgData name="Markovics, Zsolt" userId="30e248af-83dd-4b3a-b6d2-629918635d50" providerId="ADAL" clId="{F28199C6-773D-4419-BF93-F7BD6AA4E2A0}"/>
    <pc:docChg chg="modSld">
      <pc:chgData name="Markovics, Zsolt" userId="30e248af-83dd-4b3a-b6d2-629918635d50" providerId="ADAL" clId="{F28199C6-773D-4419-BF93-F7BD6AA4E2A0}" dt="2025-08-14T06:05:43.282" v="67" actId="20577"/>
      <pc:docMkLst>
        <pc:docMk/>
      </pc:docMkLst>
      <pc:sldChg chg="modSp mod">
        <pc:chgData name="Markovics, Zsolt" userId="30e248af-83dd-4b3a-b6d2-629918635d50" providerId="ADAL" clId="{F28199C6-773D-4419-BF93-F7BD6AA4E2A0}" dt="2025-08-14T05:59:18.519" v="63" actId="20577"/>
        <pc:sldMkLst>
          <pc:docMk/>
          <pc:sldMk cId="2667876991" sldId="310"/>
        </pc:sldMkLst>
      </pc:sldChg>
      <pc:sldChg chg="modSp mod">
        <pc:chgData name="Markovics, Zsolt" userId="30e248af-83dd-4b3a-b6d2-629918635d50" providerId="ADAL" clId="{F28199C6-773D-4419-BF93-F7BD6AA4E2A0}" dt="2025-08-14T06:05:43.282" v="67" actId="20577"/>
        <pc:sldMkLst>
          <pc:docMk/>
          <pc:sldMk cId="183601033" sldId="312"/>
        </pc:sldMkLst>
      </pc:sldChg>
    </pc:docChg>
  </pc:docChgLst>
  <pc:docChgLst>
    <pc:chgData name="Süveges, Judit" userId="ddf89749-cfe7-46be-b5ce-6b0e6b0cc9c0" providerId="ADAL" clId="{E8C3E3EB-3D17-4C2F-BD54-86C6AB0ADEA0}"/>
    <pc:docChg chg="custSel modSld">
      <pc:chgData name="Süveges, Judit" userId="ddf89749-cfe7-46be-b5ce-6b0e6b0cc9c0" providerId="ADAL" clId="{E8C3E3EB-3D17-4C2F-BD54-86C6AB0ADEA0}" dt="2025-09-04T08:45:32.693" v="104" actId="20577"/>
      <pc:docMkLst>
        <pc:docMk/>
      </pc:docMkLst>
      <pc:sldChg chg="modSp mod">
        <pc:chgData name="Süveges, Judit" userId="ddf89749-cfe7-46be-b5ce-6b0e6b0cc9c0" providerId="ADAL" clId="{E8C3E3EB-3D17-4C2F-BD54-86C6AB0ADEA0}" dt="2025-09-04T08:45:32.693" v="104" actId="20577"/>
        <pc:sldMkLst>
          <pc:docMk/>
          <pc:sldMk cId="851644317" sldId="320"/>
        </pc:sldMkLst>
        <pc:spChg chg="mod">
          <ac:chgData name="Süveges, Judit" userId="ddf89749-cfe7-46be-b5ce-6b0e6b0cc9c0" providerId="ADAL" clId="{E8C3E3EB-3D17-4C2F-BD54-86C6AB0ADEA0}" dt="2025-09-04T08:45:32.693" v="104" actId="20577"/>
          <ac:spMkLst>
            <pc:docMk/>
            <pc:sldMk cId="851644317" sldId="320"/>
            <ac:spMk id="5" creationId="{B3FBCE55-EE91-749A-DCCF-2923FD43F260}"/>
          </ac:spMkLst>
        </pc:spChg>
        <pc:spChg chg="mod">
          <ac:chgData name="Süveges, Judit" userId="ddf89749-cfe7-46be-b5ce-6b0e6b0cc9c0" providerId="ADAL" clId="{E8C3E3EB-3D17-4C2F-BD54-86C6AB0ADEA0}" dt="2025-09-04T08:43:16.971" v="12" actId="1076"/>
          <ac:spMkLst>
            <pc:docMk/>
            <pc:sldMk cId="851644317" sldId="320"/>
            <ac:spMk id="9" creationId="{35C8A2F5-790B-C394-B420-08019B111511}"/>
          </ac:spMkLst>
        </pc:spChg>
      </pc:sldChg>
    </pc:docChg>
  </pc:docChgLst>
  <pc:docChgLst>
    <pc:chgData name="Süveges, Judit" userId="ddf89749-cfe7-46be-b5ce-6b0e6b0cc9c0" providerId="ADAL" clId="{D78B0E17-2DC3-44E7-9250-F2FEB8D5DA5B}"/>
    <pc:docChg chg="undo custSel addSld delSld modSld sldOrd">
      <pc:chgData name="Süveges, Judit" userId="ddf89749-cfe7-46be-b5ce-6b0e6b0cc9c0" providerId="ADAL" clId="{D78B0E17-2DC3-44E7-9250-F2FEB8D5DA5B}" dt="2025-08-13T13:46:37.273" v="5053" actId="1076"/>
      <pc:docMkLst>
        <pc:docMk/>
      </pc:docMkLst>
      <pc:sldChg chg="del">
        <pc:chgData name="Süveges, Judit" userId="ddf89749-cfe7-46be-b5ce-6b0e6b0cc9c0" providerId="ADAL" clId="{D78B0E17-2DC3-44E7-9250-F2FEB8D5DA5B}" dt="2025-08-13T11:18:26.641" v="54" actId="47"/>
        <pc:sldMkLst>
          <pc:docMk/>
          <pc:sldMk cId="1782782037" sldId="291"/>
        </pc:sldMkLst>
      </pc:sldChg>
      <pc:sldChg chg="del">
        <pc:chgData name="Süveges, Judit" userId="ddf89749-cfe7-46be-b5ce-6b0e6b0cc9c0" providerId="ADAL" clId="{D78B0E17-2DC3-44E7-9250-F2FEB8D5DA5B}" dt="2025-08-13T12:52:11.683" v="3170" actId="47"/>
        <pc:sldMkLst>
          <pc:docMk/>
          <pc:sldMk cId="1914901176" sldId="292"/>
        </pc:sldMkLst>
      </pc:sldChg>
      <pc:sldChg chg="addSp delSp modSp mod">
        <pc:chgData name="Süveges, Judit" userId="ddf89749-cfe7-46be-b5ce-6b0e6b0cc9c0" providerId="ADAL" clId="{D78B0E17-2DC3-44E7-9250-F2FEB8D5DA5B}" dt="2025-08-13T12:34:59.971" v="2116"/>
        <pc:sldMkLst>
          <pc:docMk/>
          <pc:sldMk cId="1716370346" sldId="293"/>
        </pc:sldMkLst>
      </pc:sldChg>
      <pc:sldChg chg="del">
        <pc:chgData name="Süveges, Judit" userId="ddf89749-cfe7-46be-b5ce-6b0e6b0cc9c0" providerId="ADAL" clId="{D78B0E17-2DC3-44E7-9250-F2FEB8D5DA5B}" dt="2025-08-13T12:51:44.586" v="3158" actId="47"/>
        <pc:sldMkLst>
          <pc:docMk/>
          <pc:sldMk cId="2073251825" sldId="294"/>
        </pc:sldMkLst>
      </pc:sldChg>
      <pc:sldChg chg="del">
        <pc:chgData name="Süveges, Judit" userId="ddf89749-cfe7-46be-b5ce-6b0e6b0cc9c0" providerId="ADAL" clId="{D78B0E17-2DC3-44E7-9250-F2FEB8D5DA5B}" dt="2025-08-13T12:52:12.716" v="3171" actId="47"/>
        <pc:sldMkLst>
          <pc:docMk/>
          <pc:sldMk cId="3671816055" sldId="295"/>
        </pc:sldMkLst>
      </pc:sldChg>
      <pc:sldChg chg="del">
        <pc:chgData name="Süveges, Judit" userId="ddf89749-cfe7-46be-b5ce-6b0e6b0cc9c0" providerId="ADAL" clId="{D78B0E17-2DC3-44E7-9250-F2FEB8D5DA5B}" dt="2025-08-13T11:30:54.222" v="362" actId="47"/>
        <pc:sldMkLst>
          <pc:docMk/>
          <pc:sldMk cId="1633992582" sldId="296"/>
        </pc:sldMkLst>
      </pc:sldChg>
      <pc:sldChg chg="modSp mod">
        <pc:chgData name="Süveges, Judit" userId="ddf89749-cfe7-46be-b5ce-6b0e6b0cc9c0" providerId="ADAL" clId="{D78B0E17-2DC3-44E7-9250-F2FEB8D5DA5B}" dt="2025-08-13T11:33:51.722" v="568" actId="20577"/>
        <pc:sldMkLst>
          <pc:docMk/>
          <pc:sldMk cId="492916413" sldId="299"/>
        </pc:sldMkLst>
      </pc:sldChg>
      <pc:sldChg chg="del">
        <pc:chgData name="Süveges, Judit" userId="ddf89749-cfe7-46be-b5ce-6b0e6b0cc9c0" providerId="ADAL" clId="{D78B0E17-2DC3-44E7-9250-F2FEB8D5DA5B}" dt="2025-08-13T12:52:20.184" v="3176" actId="47"/>
        <pc:sldMkLst>
          <pc:docMk/>
          <pc:sldMk cId="165434090" sldId="300"/>
        </pc:sldMkLst>
      </pc:sldChg>
      <pc:sldChg chg="del">
        <pc:chgData name="Süveges, Judit" userId="ddf89749-cfe7-46be-b5ce-6b0e6b0cc9c0" providerId="ADAL" clId="{D78B0E17-2DC3-44E7-9250-F2FEB8D5DA5B}" dt="2025-08-13T12:52:20.965" v="3177" actId="47"/>
        <pc:sldMkLst>
          <pc:docMk/>
          <pc:sldMk cId="2257519926" sldId="301"/>
        </pc:sldMkLst>
      </pc:sldChg>
      <pc:sldChg chg="del">
        <pc:chgData name="Süveges, Judit" userId="ddf89749-cfe7-46be-b5ce-6b0e6b0cc9c0" providerId="ADAL" clId="{D78B0E17-2DC3-44E7-9250-F2FEB8D5DA5B}" dt="2025-08-13T12:52:19.323" v="3175" actId="47"/>
        <pc:sldMkLst>
          <pc:docMk/>
          <pc:sldMk cId="2635620460" sldId="302"/>
        </pc:sldMkLst>
      </pc:sldChg>
      <pc:sldChg chg="del">
        <pc:chgData name="Süveges, Judit" userId="ddf89749-cfe7-46be-b5ce-6b0e6b0cc9c0" providerId="ADAL" clId="{D78B0E17-2DC3-44E7-9250-F2FEB8D5DA5B}" dt="2025-08-13T12:52:22.519" v="3178" actId="47"/>
        <pc:sldMkLst>
          <pc:docMk/>
          <pc:sldMk cId="3285538708" sldId="303"/>
        </pc:sldMkLst>
      </pc:sldChg>
      <pc:sldChg chg="del">
        <pc:chgData name="Süveges, Judit" userId="ddf89749-cfe7-46be-b5ce-6b0e6b0cc9c0" providerId="ADAL" clId="{D78B0E17-2DC3-44E7-9250-F2FEB8D5DA5B}" dt="2025-08-13T12:52:16.203" v="3173" actId="47"/>
        <pc:sldMkLst>
          <pc:docMk/>
          <pc:sldMk cId="3291505149" sldId="304"/>
        </pc:sldMkLst>
      </pc:sldChg>
      <pc:sldChg chg="del">
        <pc:chgData name="Süveges, Judit" userId="ddf89749-cfe7-46be-b5ce-6b0e6b0cc9c0" providerId="ADAL" clId="{D78B0E17-2DC3-44E7-9250-F2FEB8D5DA5B}" dt="2025-08-13T12:52:18.246" v="3174" actId="47"/>
        <pc:sldMkLst>
          <pc:docMk/>
          <pc:sldMk cId="3803063673" sldId="305"/>
        </pc:sldMkLst>
      </pc:sldChg>
      <pc:sldChg chg="del">
        <pc:chgData name="Süveges, Judit" userId="ddf89749-cfe7-46be-b5ce-6b0e6b0cc9c0" providerId="ADAL" clId="{D78B0E17-2DC3-44E7-9250-F2FEB8D5DA5B}" dt="2025-08-13T12:52:14.706" v="3172" actId="47"/>
        <pc:sldMkLst>
          <pc:docMk/>
          <pc:sldMk cId="2460646082" sldId="306"/>
        </pc:sldMkLst>
      </pc:sldChg>
      <pc:sldChg chg="addSp delSp modSp new add del mod">
        <pc:chgData name="Süveges, Judit" userId="ddf89749-cfe7-46be-b5ce-6b0e6b0cc9c0" providerId="ADAL" clId="{D78B0E17-2DC3-44E7-9250-F2FEB8D5DA5B}" dt="2025-08-13T13:46:37.273" v="5053" actId="1076"/>
        <pc:sldMkLst>
          <pc:docMk/>
          <pc:sldMk cId="2325404486" sldId="307"/>
        </pc:sldMkLst>
        <pc:spChg chg="mod">
          <ac:chgData name="Süveges, Judit" userId="ddf89749-cfe7-46be-b5ce-6b0e6b0cc9c0" providerId="ADAL" clId="{D78B0E17-2DC3-44E7-9250-F2FEB8D5DA5B}" dt="2025-08-13T13:46:37.273" v="5053" actId="1076"/>
          <ac:spMkLst>
            <pc:docMk/>
            <pc:sldMk cId="2325404486" sldId="307"/>
            <ac:spMk id="5" creationId="{DA6DC362-4A3C-E03E-4C97-82CECA8BDECD}"/>
          </ac:spMkLst>
        </pc:spChg>
        <pc:spChg chg="mod">
          <ac:chgData name="Süveges, Judit" userId="ddf89749-cfe7-46be-b5ce-6b0e6b0cc9c0" providerId="ADAL" clId="{D78B0E17-2DC3-44E7-9250-F2FEB8D5DA5B}" dt="2025-08-13T11:16:34.458" v="6"/>
          <ac:spMkLst>
            <pc:docMk/>
            <pc:sldMk cId="2325404486" sldId="307"/>
            <ac:spMk id="6" creationId="{2244FF23-A332-1D36-784F-007EC55DE37F}"/>
          </ac:spMkLst>
        </pc:spChg>
        <pc:picChg chg="add mod">
          <ac:chgData name="Süveges, Judit" userId="ddf89749-cfe7-46be-b5ce-6b0e6b0cc9c0" providerId="ADAL" clId="{D78B0E17-2DC3-44E7-9250-F2FEB8D5DA5B}" dt="2025-08-13T11:16:26.041" v="3" actId="962"/>
          <ac:picMkLst>
            <pc:docMk/>
            <pc:sldMk cId="2325404486" sldId="307"/>
            <ac:picMk id="9" creationId="{E40A1894-A1FF-200D-1710-262D0AA7A225}"/>
          </ac:picMkLst>
        </pc:picChg>
      </pc:sldChg>
      <pc:sldChg chg="addSp delSp modSp add del mod">
        <pc:chgData name="Süveges, Judit" userId="ddf89749-cfe7-46be-b5ce-6b0e6b0cc9c0" providerId="ADAL" clId="{D78B0E17-2DC3-44E7-9250-F2FEB8D5DA5B}" dt="2025-08-13T13:00:17.029" v="3532" actId="113"/>
        <pc:sldMkLst>
          <pc:docMk/>
          <pc:sldMk cId="858574129" sldId="308"/>
        </pc:sldMkLst>
      </pc:sldChg>
      <pc:sldChg chg="new del">
        <pc:chgData name="Süveges, Judit" userId="ddf89749-cfe7-46be-b5ce-6b0e6b0cc9c0" providerId="ADAL" clId="{D78B0E17-2DC3-44E7-9250-F2FEB8D5DA5B}" dt="2025-08-13T11:20:01.032" v="73" actId="47"/>
        <pc:sldMkLst>
          <pc:docMk/>
          <pc:sldMk cId="3712847992" sldId="308"/>
        </pc:sldMkLst>
      </pc:sldChg>
      <pc:sldChg chg="modSp add mod">
        <pc:chgData name="Süveges, Judit" userId="ddf89749-cfe7-46be-b5ce-6b0e6b0cc9c0" providerId="ADAL" clId="{D78B0E17-2DC3-44E7-9250-F2FEB8D5DA5B}" dt="2025-08-13T12:51:56.336" v="3167" actId="20577"/>
        <pc:sldMkLst>
          <pc:docMk/>
          <pc:sldMk cId="2639640728" sldId="309"/>
        </pc:sldMkLst>
      </pc:sldChg>
      <pc:sldChg chg="addSp modSp new mod">
        <pc:chgData name="Süveges, Judit" userId="ddf89749-cfe7-46be-b5ce-6b0e6b0cc9c0" providerId="ADAL" clId="{D78B0E17-2DC3-44E7-9250-F2FEB8D5DA5B}" dt="2025-08-13T12:34:19.740" v="2113" actId="1440"/>
        <pc:sldMkLst>
          <pc:docMk/>
          <pc:sldMk cId="2667876991" sldId="310"/>
        </pc:sldMkLst>
      </pc:sldChg>
      <pc:sldChg chg="addSp delSp modSp add mod ord">
        <pc:chgData name="Süveges, Judit" userId="ddf89749-cfe7-46be-b5ce-6b0e6b0cc9c0" providerId="ADAL" clId="{D78B0E17-2DC3-44E7-9250-F2FEB8D5DA5B}" dt="2025-08-13T12:58:47.779" v="3528" actId="113"/>
        <pc:sldMkLst>
          <pc:docMk/>
          <pc:sldMk cId="1295554591" sldId="311"/>
        </pc:sldMkLst>
      </pc:sldChg>
      <pc:sldChg chg="new del">
        <pc:chgData name="Süveges, Judit" userId="ddf89749-cfe7-46be-b5ce-6b0e6b0cc9c0" providerId="ADAL" clId="{D78B0E17-2DC3-44E7-9250-F2FEB8D5DA5B}" dt="2025-08-13T11:31:47.163" v="389" actId="680"/>
        <pc:sldMkLst>
          <pc:docMk/>
          <pc:sldMk cId="1427461846" sldId="311"/>
        </pc:sldMkLst>
      </pc:sldChg>
      <pc:sldChg chg="addSp delSp modSp new mod">
        <pc:chgData name="Süveges, Judit" userId="ddf89749-cfe7-46be-b5ce-6b0e6b0cc9c0" providerId="ADAL" clId="{D78B0E17-2DC3-44E7-9250-F2FEB8D5DA5B}" dt="2025-08-13T13:46:15.609" v="5052" actId="732"/>
        <pc:sldMkLst>
          <pc:docMk/>
          <pc:sldMk cId="183601033" sldId="312"/>
        </pc:sldMkLst>
      </pc:sldChg>
      <pc:sldChg chg="modSp add mod">
        <pc:chgData name="Süveges, Judit" userId="ddf89749-cfe7-46be-b5ce-6b0e6b0cc9c0" providerId="ADAL" clId="{D78B0E17-2DC3-44E7-9250-F2FEB8D5DA5B}" dt="2025-08-13T12:52:39.049" v="3190" actId="20577"/>
        <pc:sldMkLst>
          <pc:docMk/>
          <pc:sldMk cId="2305740346" sldId="313"/>
        </pc:sldMkLst>
      </pc:sldChg>
      <pc:sldChg chg="modSp add del mod">
        <pc:chgData name="Süveges, Judit" userId="ddf89749-cfe7-46be-b5ce-6b0e6b0cc9c0" providerId="ADAL" clId="{D78B0E17-2DC3-44E7-9250-F2FEB8D5DA5B}" dt="2025-08-13T12:52:23.935" v="3179" actId="47"/>
        <pc:sldMkLst>
          <pc:docMk/>
          <pc:sldMk cId="4110694077" sldId="313"/>
        </pc:sldMkLst>
      </pc:sldChg>
      <pc:sldChg chg="modSp add mod">
        <pc:chgData name="Süveges, Judit" userId="ddf89749-cfe7-46be-b5ce-6b0e6b0cc9c0" providerId="ADAL" clId="{D78B0E17-2DC3-44E7-9250-F2FEB8D5DA5B}" dt="2025-08-13T12:57:11.996" v="3409" actId="20577"/>
        <pc:sldMkLst>
          <pc:docMk/>
          <pc:sldMk cId="2646046934" sldId="314"/>
        </pc:sldMkLst>
      </pc:sldChg>
      <pc:sldChg chg="addSp delSp modSp new mod">
        <pc:chgData name="Süveges, Judit" userId="ddf89749-cfe7-46be-b5ce-6b0e6b0cc9c0" providerId="ADAL" clId="{D78B0E17-2DC3-44E7-9250-F2FEB8D5DA5B}" dt="2025-08-13T13:02:37.521" v="3623" actId="20577"/>
        <pc:sldMkLst>
          <pc:docMk/>
          <pc:sldMk cId="2618800986" sldId="315"/>
        </pc:sldMkLst>
      </pc:sldChg>
      <pc:sldChg chg="delSp modSp new mod">
        <pc:chgData name="Süveges, Judit" userId="ddf89749-cfe7-46be-b5ce-6b0e6b0cc9c0" providerId="ADAL" clId="{D78B0E17-2DC3-44E7-9250-F2FEB8D5DA5B}" dt="2025-08-13T13:03:27.121" v="3628" actId="478"/>
        <pc:sldMkLst>
          <pc:docMk/>
          <pc:sldMk cId="1762525558" sldId="316"/>
        </pc:sldMkLst>
        <pc:spChg chg="mod">
          <ac:chgData name="Süveges, Judit" userId="ddf89749-cfe7-46be-b5ce-6b0e6b0cc9c0" providerId="ADAL" clId="{D78B0E17-2DC3-44E7-9250-F2FEB8D5DA5B}" dt="2025-08-13T13:03:22.661" v="3625"/>
          <ac:spMkLst>
            <pc:docMk/>
            <pc:sldMk cId="1762525558" sldId="316"/>
            <ac:spMk id="6" creationId="{FF9E8338-2776-5D0D-763D-16187E159F35}"/>
          </ac:spMkLst>
        </pc:spChg>
      </pc:sldChg>
      <pc:sldChg chg="addSp delSp modSp new mod">
        <pc:chgData name="Süveges, Judit" userId="ddf89749-cfe7-46be-b5ce-6b0e6b0cc9c0" providerId="ADAL" clId="{D78B0E17-2DC3-44E7-9250-F2FEB8D5DA5B}" dt="2025-08-13T13:42:58.646" v="4804" actId="1035"/>
        <pc:sldMkLst>
          <pc:docMk/>
          <pc:sldMk cId="2159913983" sldId="31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EF15546-CF98-0ECD-3C30-AF7ADFEA53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582542-B544-EC8B-8809-B734C38584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0799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r">
              <a:defRPr sz="1300"/>
            </a:lvl1pPr>
          </a:lstStyle>
          <a:p>
            <a:fld id="{73A62F7A-CE52-49BC-9E83-8800BF7B5834}" type="datetimeFigureOut">
              <a:rPr lang="de-DE" smtClean="0"/>
              <a:t>04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70DEA8-22DC-FE60-6D02-1EAA794313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6039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D74975-BE5F-023C-CBB6-73F33355B8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0799" y="9516039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r">
              <a:defRPr sz="1300"/>
            </a:lvl1pPr>
          </a:lstStyle>
          <a:p>
            <a:fld id="{C389E97C-5547-4CEC-9D2D-236DAC97C59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7869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56" userDrawn="1">
          <p15:clr>
            <a:srgbClr val="F26B43"/>
          </p15:clr>
        </p15:guide>
        <p15:guide id="2" pos="216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l">
              <a:defRPr sz="1300"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0799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r">
              <a:defRPr sz="1300">
                <a:latin typeface="+mn-lt"/>
              </a:defRPr>
            </a:lvl1pPr>
          </a:lstStyle>
          <a:p>
            <a:fld id="{03ADE0E1-2DAE-45F5-87B7-DB9E3D8054DE}" type="datetimeFigureOut">
              <a:rPr lang="de-DE" smtClean="0"/>
              <a:pPr/>
              <a:t>04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97" tIns="48299" rIns="96597" bIns="4829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658" y="4821506"/>
            <a:ext cx="5509260" cy="3944868"/>
          </a:xfrm>
          <a:prstGeom prst="rect">
            <a:avLst/>
          </a:prstGeom>
        </p:spPr>
        <p:txBody>
          <a:bodyPr vert="horz" lIns="96597" tIns="48299" rIns="96597" bIns="48299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l">
              <a:defRPr sz="1300"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0799" y="9516039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r">
              <a:defRPr sz="1300">
                <a:latin typeface="+mn-lt"/>
              </a:defRPr>
            </a:lvl1pPr>
          </a:lstStyle>
          <a:p>
            <a:fld id="{334F4A3F-64EC-49EC-B822-7C30E9B55BB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9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56" userDrawn="1">
          <p15:clr>
            <a:srgbClr val="F26B43"/>
          </p15:clr>
        </p15:guide>
        <p15:guide id="2" pos="216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4166F76A-4900-864D-B9F6-2488814C2A20}" type="datetime1">
              <a:rPr lang="en-GB" noProof="0" smtClean="0"/>
              <a:pPr/>
              <a:t>04/09/2025</a:t>
            </a:fld>
            <a:endParaRPr lang="en-GB" noProof="0"/>
          </a:p>
        </p:txBody>
      </p:sp>
      <p:sp>
        <p:nvSpPr>
          <p:cNvPr id="5" name="Grafik 11">
            <a:extLst>
              <a:ext uri="{FF2B5EF4-FFF2-40B4-BE49-F238E27FC236}">
                <a16:creationId xmlns:a16="http://schemas.microsoft.com/office/drawing/2014/main" id="{5AC75308-76D7-FECF-76B9-783E682080E5}"/>
              </a:ext>
            </a:extLst>
          </p:cNvPr>
          <p:cNvSpPr>
            <a:spLocks noChangeAspect="1"/>
          </p:cNvSpPr>
          <p:nvPr userDrawn="1"/>
        </p:nvSpPr>
        <p:spPr>
          <a:xfrm>
            <a:off x="9732576" y="5765508"/>
            <a:ext cx="1980000" cy="579730"/>
          </a:xfrm>
          <a:custGeom>
            <a:avLst/>
            <a:gdLst>
              <a:gd name="connsiteX0" fmla="*/ 12192000 w 12192000"/>
              <a:gd name="connsiteY0" fmla="*/ 1320881 h 3569732"/>
              <a:gd name="connsiteX1" fmla="*/ 11626234 w 12192000"/>
              <a:gd name="connsiteY1" fmla="*/ 3336532 h 3569732"/>
              <a:gd name="connsiteX2" fmla="*/ 11343268 w 12192000"/>
              <a:gd name="connsiteY2" fmla="*/ 3493865 h 3569732"/>
              <a:gd name="connsiteX3" fmla="*/ 10843621 w 12192000"/>
              <a:gd name="connsiteY3" fmla="*/ 3368594 h 3569732"/>
              <a:gd name="connsiteX4" fmla="*/ 10818543 w 12192000"/>
              <a:gd name="connsiteY4" fmla="*/ 3278906 h 3569732"/>
              <a:gd name="connsiteX5" fmla="*/ 11243050 w 12192000"/>
              <a:gd name="connsiteY5" fmla="*/ 1861035 h 3569732"/>
              <a:gd name="connsiteX6" fmla="*/ 11097628 w 12192000"/>
              <a:gd name="connsiteY6" fmla="*/ 1664382 h 3569732"/>
              <a:gd name="connsiteX7" fmla="*/ 8936174 w 12192000"/>
              <a:gd name="connsiteY7" fmla="*/ 3373408 h 3569732"/>
              <a:gd name="connsiteX8" fmla="*/ 8619106 w 12192000"/>
              <a:gd name="connsiteY8" fmla="*/ 3475999 h 3569732"/>
              <a:gd name="connsiteX9" fmla="*/ 8270715 w 12192000"/>
              <a:gd name="connsiteY9" fmla="*/ 3382303 h 3569732"/>
              <a:gd name="connsiteX10" fmla="*/ 8232508 w 12192000"/>
              <a:gd name="connsiteY10" fmla="*/ 3265797 h 3569732"/>
              <a:gd name="connsiteX11" fmla="*/ 8275217 w 12192000"/>
              <a:gd name="connsiteY11" fmla="*/ 3092264 h 3569732"/>
              <a:gd name="connsiteX12" fmla="*/ 9038830 w 12192000"/>
              <a:gd name="connsiteY12" fmla="*/ 963802 h 3569732"/>
              <a:gd name="connsiteX13" fmla="*/ 9123348 w 12192000"/>
              <a:gd name="connsiteY13" fmla="*/ 905056 h 3569732"/>
              <a:gd name="connsiteX14" fmla="*/ 9373847 w 12192000"/>
              <a:gd name="connsiteY14" fmla="*/ 879013 h 3569732"/>
              <a:gd name="connsiteX15" fmla="*/ 9745385 w 12192000"/>
              <a:gd name="connsiteY15" fmla="*/ 935266 h 3569732"/>
              <a:gd name="connsiteX16" fmla="*/ 9746154 w 12192000"/>
              <a:gd name="connsiteY16" fmla="*/ 1088816 h 3569732"/>
              <a:gd name="connsiteX17" fmla="*/ 9967785 w 12192000"/>
              <a:gd name="connsiteY17" fmla="*/ 1383238 h 3569732"/>
              <a:gd name="connsiteX18" fmla="*/ 11566531 w 12192000"/>
              <a:gd name="connsiteY18" fmla="*/ 763023 h 3569732"/>
              <a:gd name="connsiteX19" fmla="*/ 12192000 w 12192000"/>
              <a:gd name="connsiteY19" fmla="*/ 1320882 h 3569732"/>
              <a:gd name="connsiteX20" fmla="*/ 4970529 w 12192000"/>
              <a:gd name="connsiteY20" fmla="*/ 1833961 h 3569732"/>
              <a:gd name="connsiteX21" fmla="*/ 4857762 w 12192000"/>
              <a:gd name="connsiteY21" fmla="*/ 2186449 h 3569732"/>
              <a:gd name="connsiteX22" fmla="*/ 4372089 w 12192000"/>
              <a:gd name="connsiteY22" fmla="*/ 2440812 h 3569732"/>
              <a:gd name="connsiteX23" fmla="*/ 4041592 w 12192000"/>
              <a:gd name="connsiteY23" fmla="*/ 2213268 h 3569732"/>
              <a:gd name="connsiteX24" fmla="*/ 4144305 w 12192000"/>
              <a:gd name="connsiteY24" fmla="*/ 1891971 h 3569732"/>
              <a:gd name="connsiteX25" fmla="*/ 4648941 w 12192000"/>
              <a:gd name="connsiteY25" fmla="*/ 1610878 h 3569732"/>
              <a:gd name="connsiteX26" fmla="*/ 4970529 w 12192000"/>
              <a:gd name="connsiteY26" fmla="*/ 1833961 h 3569732"/>
              <a:gd name="connsiteX27" fmla="*/ 2867052 w 12192000"/>
              <a:gd name="connsiteY27" fmla="*/ 1298492 h 3569732"/>
              <a:gd name="connsiteX28" fmla="*/ 2733128 w 12192000"/>
              <a:gd name="connsiteY28" fmla="*/ 905786 h 3569732"/>
              <a:gd name="connsiteX29" fmla="*/ 1527312 w 12192000"/>
              <a:gd name="connsiteY29" fmla="*/ 1606364 h 3569732"/>
              <a:gd name="connsiteX30" fmla="*/ 1585376 w 12192000"/>
              <a:gd name="connsiteY30" fmla="*/ 1655443 h 3569732"/>
              <a:gd name="connsiteX31" fmla="*/ 2509808 w 12192000"/>
              <a:gd name="connsiteY31" fmla="*/ 1655443 h 3569732"/>
              <a:gd name="connsiteX32" fmla="*/ 2867052 w 12192000"/>
              <a:gd name="connsiteY32" fmla="*/ 1298492 h 3569732"/>
              <a:gd name="connsiteX33" fmla="*/ 3854023 w 12192000"/>
              <a:gd name="connsiteY33" fmla="*/ 1383238 h 3569732"/>
              <a:gd name="connsiteX34" fmla="*/ 2826875 w 12192000"/>
              <a:gd name="connsiteY34" fmla="*/ 2338183 h 3569732"/>
              <a:gd name="connsiteX35" fmla="*/ 2447310 w 12192000"/>
              <a:gd name="connsiteY35" fmla="*/ 2338183 h 3569732"/>
              <a:gd name="connsiteX36" fmla="*/ 1304000 w 12192000"/>
              <a:gd name="connsiteY36" fmla="*/ 2315841 h 3569732"/>
              <a:gd name="connsiteX37" fmla="*/ 1196861 w 12192000"/>
              <a:gd name="connsiteY37" fmla="*/ 2338183 h 3569732"/>
              <a:gd name="connsiteX38" fmla="*/ 1933726 w 12192000"/>
              <a:gd name="connsiteY38" fmla="*/ 2985215 h 3569732"/>
              <a:gd name="connsiteX39" fmla="*/ 2558932 w 12192000"/>
              <a:gd name="connsiteY39" fmla="*/ 2714783 h 3569732"/>
              <a:gd name="connsiteX40" fmla="*/ 3219870 w 12192000"/>
              <a:gd name="connsiteY40" fmla="*/ 2668357 h 3569732"/>
              <a:gd name="connsiteX41" fmla="*/ 3840649 w 12192000"/>
              <a:gd name="connsiteY41" fmla="*/ 2851310 h 3569732"/>
              <a:gd name="connsiteX42" fmla="*/ 2174884 w 12192000"/>
              <a:gd name="connsiteY42" fmla="*/ 3569733 h 3569732"/>
              <a:gd name="connsiteX43" fmla="*/ 0 w 12192000"/>
              <a:gd name="connsiteY43" fmla="*/ 2199858 h 3569732"/>
              <a:gd name="connsiteX44" fmla="*/ 3130587 w 12192000"/>
              <a:gd name="connsiteY44" fmla="*/ 0 h 3569732"/>
              <a:gd name="connsiteX45" fmla="*/ 3854023 w 12192000"/>
              <a:gd name="connsiteY45" fmla="*/ 1383238 h 3569732"/>
              <a:gd name="connsiteX46" fmla="*/ 6890844 w 12192000"/>
              <a:gd name="connsiteY46" fmla="*/ 1356508 h 3569732"/>
              <a:gd name="connsiteX47" fmla="*/ 6618362 w 12192000"/>
              <a:gd name="connsiteY47" fmla="*/ 1450194 h 3569732"/>
              <a:gd name="connsiteX48" fmla="*/ 6256653 w 12192000"/>
              <a:gd name="connsiteY48" fmla="*/ 2713023 h 3569732"/>
              <a:gd name="connsiteX49" fmla="*/ 6488864 w 12192000"/>
              <a:gd name="connsiteY49" fmla="*/ 2846834 h 3569732"/>
              <a:gd name="connsiteX50" fmla="*/ 6761289 w 12192000"/>
              <a:gd name="connsiteY50" fmla="*/ 2775499 h 3569732"/>
              <a:gd name="connsiteX51" fmla="*/ 7117333 w 12192000"/>
              <a:gd name="connsiteY51" fmla="*/ 1512379 h 3569732"/>
              <a:gd name="connsiteX52" fmla="*/ 6890844 w 12192000"/>
              <a:gd name="connsiteY52" fmla="*/ 1356508 h 3569732"/>
              <a:gd name="connsiteX53" fmla="*/ 8328768 w 12192000"/>
              <a:gd name="connsiteY53" fmla="*/ 1316327 h 3569732"/>
              <a:gd name="connsiteX54" fmla="*/ 7880215 w 12192000"/>
              <a:gd name="connsiteY54" fmla="*/ 2623709 h 3569732"/>
              <a:gd name="connsiteX55" fmla="*/ 6127099 w 12192000"/>
              <a:gd name="connsiteY55" fmla="*/ 3493865 h 3569732"/>
              <a:gd name="connsiteX56" fmla="*/ 5041936 w 12192000"/>
              <a:gd name="connsiteY56" fmla="*/ 2869139 h 3569732"/>
              <a:gd name="connsiteX57" fmla="*/ 5488520 w 12192000"/>
              <a:gd name="connsiteY57" fmla="*/ 1584104 h 3569732"/>
              <a:gd name="connsiteX58" fmla="*/ 7181069 w 12192000"/>
              <a:gd name="connsiteY58" fmla="*/ 678232 h 3569732"/>
              <a:gd name="connsiteX59" fmla="*/ 8328768 w 12192000"/>
              <a:gd name="connsiteY59" fmla="*/ 1316327 h 356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2192000" h="3569732">
                <a:moveTo>
                  <a:pt x="12192000" y="1320881"/>
                </a:moveTo>
                <a:cubicBezTo>
                  <a:pt x="12192000" y="1729102"/>
                  <a:pt x="11705971" y="3126779"/>
                  <a:pt x="11626234" y="3336532"/>
                </a:cubicBezTo>
                <a:cubicBezTo>
                  <a:pt x="11573809" y="3474370"/>
                  <a:pt x="11473385" y="3493865"/>
                  <a:pt x="11343268" y="3493865"/>
                </a:cubicBezTo>
                <a:cubicBezTo>
                  <a:pt x="11107794" y="3493865"/>
                  <a:pt x="10930203" y="3437869"/>
                  <a:pt x="10843621" y="3368594"/>
                </a:cubicBezTo>
                <a:cubicBezTo>
                  <a:pt x="10825671" y="3354342"/>
                  <a:pt x="10803482" y="3323741"/>
                  <a:pt x="10818543" y="3278906"/>
                </a:cubicBezTo>
                <a:cubicBezTo>
                  <a:pt x="10907057" y="3015310"/>
                  <a:pt x="11243050" y="2066104"/>
                  <a:pt x="11243050" y="1861035"/>
                </a:cubicBezTo>
                <a:cubicBezTo>
                  <a:pt x="11243050" y="1748785"/>
                  <a:pt x="11209812" y="1664382"/>
                  <a:pt x="11097628" y="1664382"/>
                </a:cubicBezTo>
                <a:cubicBezTo>
                  <a:pt x="10417596" y="1664382"/>
                  <a:pt x="9168178" y="3114232"/>
                  <a:pt x="8936174" y="3373408"/>
                </a:cubicBezTo>
                <a:cubicBezTo>
                  <a:pt x="8860264" y="3458114"/>
                  <a:pt x="8749035" y="3475999"/>
                  <a:pt x="8619106" y="3475999"/>
                </a:cubicBezTo>
                <a:cubicBezTo>
                  <a:pt x="8458284" y="3475999"/>
                  <a:pt x="8287015" y="3390731"/>
                  <a:pt x="8270715" y="3382303"/>
                </a:cubicBezTo>
                <a:cubicBezTo>
                  <a:pt x="8219865" y="3356047"/>
                  <a:pt x="8217464" y="3327037"/>
                  <a:pt x="8232508" y="3265797"/>
                </a:cubicBezTo>
                <a:lnTo>
                  <a:pt x="8275217" y="3092264"/>
                </a:lnTo>
                <a:cubicBezTo>
                  <a:pt x="8353377" y="2774807"/>
                  <a:pt x="8758189" y="1600306"/>
                  <a:pt x="9038830" y="963802"/>
                </a:cubicBezTo>
                <a:cubicBezTo>
                  <a:pt x="9050759" y="936899"/>
                  <a:pt x="9062407" y="914553"/>
                  <a:pt x="9123348" y="905056"/>
                </a:cubicBezTo>
                <a:cubicBezTo>
                  <a:pt x="9151653" y="900629"/>
                  <a:pt x="9244519" y="879013"/>
                  <a:pt x="9373847" y="879013"/>
                </a:cubicBezTo>
                <a:cubicBezTo>
                  <a:pt x="9468682" y="879013"/>
                  <a:pt x="9652988" y="885759"/>
                  <a:pt x="9745385" y="935266"/>
                </a:cubicBezTo>
                <a:cubicBezTo>
                  <a:pt x="9745385" y="935266"/>
                  <a:pt x="9746154" y="933891"/>
                  <a:pt x="9746154" y="1088816"/>
                </a:cubicBezTo>
                <a:cubicBezTo>
                  <a:pt x="9746154" y="1155729"/>
                  <a:pt x="9753468" y="1383238"/>
                  <a:pt x="9967785" y="1383238"/>
                </a:cubicBezTo>
                <a:cubicBezTo>
                  <a:pt x="10329456" y="1383238"/>
                  <a:pt x="10986024" y="763023"/>
                  <a:pt x="11566531" y="763023"/>
                </a:cubicBezTo>
                <a:cubicBezTo>
                  <a:pt x="12076908" y="763023"/>
                  <a:pt x="12192000" y="1077686"/>
                  <a:pt x="12192000" y="1320882"/>
                </a:cubicBezTo>
                <a:moveTo>
                  <a:pt x="4970529" y="1833961"/>
                </a:moveTo>
                <a:cubicBezTo>
                  <a:pt x="4970529" y="1918715"/>
                  <a:pt x="4871736" y="2151971"/>
                  <a:pt x="4857762" y="2186449"/>
                </a:cubicBezTo>
                <a:cubicBezTo>
                  <a:pt x="4768948" y="2405323"/>
                  <a:pt x="4536043" y="2440812"/>
                  <a:pt x="4372089" y="2440812"/>
                </a:cubicBezTo>
                <a:cubicBezTo>
                  <a:pt x="4126110" y="2440812"/>
                  <a:pt x="4041592" y="2352547"/>
                  <a:pt x="4041592" y="2213268"/>
                </a:cubicBezTo>
                <a:cubicBezTo>
                  <a:pt x="4041592" y="2105470"/>
                  <a:pt x="4132338" y="1919389"/>
                  <a:pt x="4144305" y="1891971"/>
                </a:cubicBezTo>
                <a:cubicBezTo>
                  <a:pt x="4255046" y="1638425"/>
                  <a:pt x="4453288" y="1610878"/>
                  <a:pt x="4648941" y="1610878"/>
                </a:cubicBezTo>
                <a:cubicBezTo>
                  <a:pt x="4814846" y="1610878"/>
                  <a:pt x="4970529" y="1679810"/>
                  <a:pt x="4970529" y="1833961"/>
                </a:cubicBezTo>
                <a:moveTo>
                  <a:pt x="2867052" y="1298492"/>
                </a:moveTo>
                <a:cubicBezTo>
                  <a:pt x="2867052" y="1137078"/>
                  <a:pt x="2859437" y="905786"/>
                  <a:pt x="2733128" y="905786"/>
                </a:cubicBezTo>
                <a:cubicBezTo>
                  <a:pt x="2321976" y="905786"/>
                  <a:pt x="1599742" y="1534037"/>
                  <a:pt x="1527312" y="1606364"/>
                </a:cubicBezTo>
                <a:cubicBezTo>
                  <a:pt x="1473720" y="1659955"/>
                  <a:pt x="1513806" y="1655443"/>
                  <a:pt x="1585376" y="1655443"/>
                </a:cubicBezTo>
                <a:lnTo>
                  <a:pt x="2509808" y="1655443"/>
                </a:lnTo>
                <a:cubicBezTo>
                  <a:pt x="2837341" y="1655443"/>
                  <a:pt x="2867052" y="1600392"/>
                  <a:pt x="2867052" y="1298492"/>
                </a:cubicBezTo>
                <a:moveTo>
                  <a:pt x="3854023" y="1383238"/>
                </a:moveTo>
                <a:cubicBezTo>
                  <a:pt x="3854023" y="2174145"/>
                  <a:pt x="3367093" y="2338183"/>
                  <a:pt x="2826875" y="2338183"/>
                </a:cubicBezTo>
                <a:lnTo>
                  <a:pt x="2447310" y="2338183"/>
                </a:lnTo>
                <a:cubicBezTo>
                  <a:pt x="2067951" y="2338183"/>
                  <a:pt x="1304000" y="2315841"/>
                  <a:pt x="1304000" y="2315841"/>
                </a:cubicBezTo>
                <a:cubicBezTo>
                  <a:pt x="1242710" y="2314642"/>
                  <a:pt x="1196861" y="2302469"/>
                  <a:pt x="1196861" y="2338183"/>
                </a:cubicBezTo>
                <a:cubicBezTo>
                  <a:pt x="1196861" y="2596086"/>
                  <a:pt x="1488861" y="2985215"/>
                  <a:pt x="1933726" y="2985215"/>
                </a:cubicBezTo>
                <a:cubicBezTo>
                  <a:pt x="2284049" y="2985215"/>
                  <a:pt x="2509808" y="2766566"/>
                  <a:pt x="2558932" y="2714783"/>
                </a:cubicBezTo>
                <a:cubicBezTo>
                  <a:pt x="2558932" y="2714783"/>
                  <a:pt x="2961456" y="2668357"/>
                  <a:pt x="3219870" y="2668357"/>
                </a:cubicBezTo>
                <a:cubicBezTo>
                  <a:pt x="3470800" y="2668357"/>
                  <a:pt x="3840649" y="2708509"/>
                  <a:pt x="3840649" y="2851310"/>
                </a:cubicBezTo>
                <a:cubicBezTo>
                  <a:pt x="3840649" y="3129869"/>
                  <a:pt x="2934840" y="3569733"/>
                  <a:pt x="2174884" y="3569733"/>
                </a:cubicBezTo>
                <a:cubicBezTo>
                  <a:pt x="1030667" y="3569732"/>
                  <a:pt x="0" y="2948658"/>
                  <a:pt x="0" y="2199858"/>
                </a:cubicBezTo>
                <a:cubicBezTo>
                  <a:pt x="0" y="945107"/>
                  <a:pt x="2423695" y="0"/>
                  <a:pt x="3130587" y="0"/>
                </a:cubicBezTo>
                <a:cubicBezTo>
                  <a:pt x="3767178" y="0"/>
                  <a:pt x="3854023" y="1013050"/>
                  <a:pt x="3854023" y="1383238"/>
                </a:cubicBezTo>
                <a:moveTo>
                  <a:pt x="6890844" y="1356508"/>
                </a:moveTo>
                <a:cubicBezTo>
                  <a:pt x="6804637" y="1356508"/>
                  <a:pt x="6676471" y="1369917"/>
                  <a:pt x="6618362" y="1450194"/>
                </a:cubicBezTo>
                <a:cubicBezTo>
                  <a:pt x="6400819" y="1751148"/>
                  <a:pt x="6256653" y="2503682"/>
                  <a:pt x="6256653" y="2713023"/>
                </a:cubicBezTo>
                <a:cubicBezTo>
                  <a:pt x="6256653" y="2855954"/>
                  <a:pt x="6356046" y="2846834"/>
                  <a:pt x="6488864" y="2846834"/>
                </a:cubicBezTo>
                <a:cubicBezTo>
                  <a:pt x="6566143" y="2846834"/>
                  <a:pt x="6690876" y="2848782"/>
                  <a:pt x="6761289" y="2775499"/>
                </a:cubicBezTo>
                <a:cubicBezTo>
                  <a:pt x="6952423" y="2576571"/>
                  <a:pt x="7117333" y="1675126"/>
                  <a:pt x="7117333" y="1512379"/>
                </a:cubicBezTo>
                <a:cubicBezTo>
                  <a:pt x="7117333" y="1396647"/>
                  <a:pt x="7108987" y="1356508"/>
                  <a:pt x="6890844" y="1356508"/>
                </a:cubicBezTo>
                <a:moveTo>
                  <a:pt x="8328768" y="1316327"/>
                </a:moveTo>
                <a:cubicBezTo>
                  <a:pt x="8328768" y="1659868"/>
                  <a:pt x="7989286" y="2414162"/>
                  <a:pt x="7880215" y="2623709"/>
                </a:cubicBezTo>
                <a:cubicBezTo>
                  <a:pt x="7424178" y="3499802"/>
                  <a:pt x="6814916" y="3493865"/>
                  <a:pt x="6127099" y="3493865"/>
                </a:cubicBezTo>
                <a:cubicBezTo>
                  <a:pt x="5791012" y="3493865"/>
                  <a:pt x="5041936" y="3497742"/>
                  <a:pt x="5041936" y="2869139"/>
                </a:cubicBezTo>
                <a:cubicBezTo>
                  <a:pt x="5041936" y="2587995"/>
                  <a:pt x="5287146" y="2072696"/>
                  <a:pt x="5488520" y="1584104"/>
                </a:cubicBezTo>
                <a:cubicBezTo>
                  <a:pt x="5574145" y="1376320"/>
                  <a:pt x="5938967" y="678232"/>
                  <a:pt x="7181069" y="678232"/>
                </a:cubicBezTo>
                <a:cubicBezTo>
                  <a:pt x="7693415" y="678232"/>
                  <a:pt x="8328768" y="758596"/>
                  <a:pt x="8328768" y="1316327"/>
                </a:cubicBezTo>
              </a:path>
            </a:pathLst>
          </a:custGeom>
          <a:solidFill>
            <a:srgbClr val="EA1B0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800A6A20-E873-F140-AC79-822BDF254684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6574" y="1"/>
            <a:ext cx="5915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4" y="1807199"/>
            <a:ext cx="543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  <a:p>
            <a:pPr lvl="4"/>
            <a:r>
              <a:rPr lang="en-GB" noProof="0" dirty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Heading</a:t>
            </a:r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56503FA3-8982-0240-96EB-0717438A640D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526211"/>
            <a:ext cx="3504000" cy="138499"/>
          </a:xfrm>
        </p:spPr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44574" y="1"/>
            <a:ext cx="7847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  <a:p>
            <a:pPr lvl="4"/>
            <a:r>
              <a:rPr lang="en-GB" noProof="0" dirty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Heading</a:t>
            </a:r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35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A92F7AF8-436B-7E4C-B79C-9AFED39A31DF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807198"/>
            <a:ext cx="6132514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Two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32512" y="1807198"/>
            <a:ext cx="6056175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GB" noProof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6727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54086B4-C1C9-5E41-95C0-A15114FD0380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7198"/>
            <a:ext cx="12192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834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GB" noProof="0"/>
              <a:t>Insert Pictu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619234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62AFC14-86FA-9D4E-B7BC-74F2486D8FF3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BEAAC-B2AD-9E48-A8EA-4EB764E838A2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5046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2BF7-8CBC-9E45-BB2F-9259532D43CD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09176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9B5F3EF-3489-EF41-92AE-C07F97C393BA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4F111-9A96-A84D-87BF-789F902DF62C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1C8706-9571-7A6A-C1B0-1625577A3C2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732576" y="5765508"/>
            <a:ext cx="1980000" cy="579730"/>
          </a:xfrm>
          <a:custGeom>
            <a:avLst/>
            <a:gdLst>
              <a:gd name="connsiteX0" fmla="*/ 754995 w 1980000"/>
              <a:gd name="connsiteY0" fmla="*/ 261609 h 579730"/>
              <a:gd name="connsiteX1" fmla="*/ 807222 w 1980000"/>
              <a:gd name="connsiteY1" fmla="*/ 297838 h 579730"/>
              <a:gd name="connsiteX2" fmla="*/ 788908 w 1980000"/>
              <a:gd name="connsiteY2" fmla="*/ 355083 h 579730"/>
              <a:gd name="connsiteX3" fmla="*/ 710034 w 1980000"/>
              <a:gd name="connsiteY3" fmla="*/ 396392 h 579730"/>
              <a:gd name="connsiteX4" fmla="*/ 656361 w 1980000"/>
              <a:gd name="connsiteY4" fmla="*/ 359438 h 579730"/>
              <a:gd name="connsiteX5" fmla="*/ 673042 w 1980000"/>
              <a:gd name="connsiteY5" fmla="*/ 307259 h 579730"/>
              <a:gd name="connsiteX6" fmla="*/ 754995 w 1980000"/>
              <a:gd name="connsiteY6" fmla="*/ 261609 h 579730"/>
              <a:gd name="connsiteX7" fmla="*/ 1119084 w 1980000"/>
              <a:gd name="connsiteY7" fmla="*/ 220299 h 579730"/>
              <a:gd name="connsiteX8" fmla="*/ 1074832 w 1980000"/>
              <a:gd name="connsiteY8" fmla="*/ 235514 h 579730"/>
              <a:gd name="connsiteX9" fmla="*/ 1016090 w 1980000"/>
              <a:gd name="connsiteY9" fmla="*/ 440599 h 579730"/>
              <a:gd name="connsiteX10" fmla="*/ 1053802 w 1980000"/>
              <a:gd name="connsiteY10" fmla="*/ 462330 h 579730"/>
              <a:gd name="connsiteX11" fmla="*/ 1098044 w 1980000"/>
              <a:gd name="connsiteY11" fmla="*/ 450746 h 579730"/>
              <a:gd name="connsiteX12" fmla="*/ 1155866 w 1980000"/>
              <a:gd name="connsiteY12" fmla="*/ 245613 h 579730"/>
              <a:gd name="connsiteX13" fmla="*/ 1119084 w 1980000"/>
              <a:gd name="connsiteY13" fmla="*/ 220299 h 579730"/>
              <a:gd name="connsiteX14" fmla="*/ 1980000 w 1980000"/>
              <a:gd name="connsiteY14" fmla="*/ 214513 h 579730"/>
              <a:gd name="connsiteX15" fmla="*/ 1980000 w 1980000"/>
              <a:gd name="connsiteY15" fmla="*/ 214514 h 579730"/>
              <a:gd name="connsiteX16" fmla="*/ 1980000 w 1980000"/>
              <a:gd name="connsiteY16" fmla="*/ 214514 h 579730"/>
              <a:gd name="connsiteX17" fmla="*/ 443864 w 1980000"/>
              <a:gd name="connsiteY17" fmla="*/ 147101 h 579730"/>
              <a:gd name="connsiteX18" fmla="*/ 248038 w 1980000"/>
              <a:gd name="connsiteY18" fmla="*/ 260876 h 579730"/>
              <a:gd name="connsiteX19" fmla="*/ 257468 w 1980000"/>
              <a:gd name="connsiteY19" fmla="*/ 268847 h 579730"/>
              <a:gd name="connsiteX20" fmla="*/ 407597 w 1980000"/>
              <a:gd name="connsiteY20" fmla="*/ 268847 h 579730"/>
              <a:gd name="connsiteX21" fmla="*/ 465614 w 1980000"/>
              <a:gd name="connsiteY21" fmla="*/ 210877 h 579730"/>
              <a:gd name="connsiteX22" fmla="*/ 443864 w 1980000"/>
              <a:gd name="connsiteY22" fmla="*/ 147101 h 579730"/>
              <a:gd name="connsiteX23" fmla="*/ 1878423 w 1980000"/>
              <a:gd name="connsiteY23" fmla="*/ 123916 h 579730"/>
              <a:gd name="connsiteX24" fmla="*/ 1960294 w 1980000"/>
              <a:gd name="connsiteY24" fmla="*/ 154404 h 579730"/>
              <a:gd name="connsiteX25" fmla="*/ 1980000 w 1980000"/>
              <a:gd name="connsiteY25" fmla="*/ 214514 h 579730"/>
              <a:gd name="connsiteX26" fmla="*/ 1976583 w 1980000"/>
              <a:gd name="connsiteY26" fmla="*/ 246216 h 579730"/>
              <a:gd name="connsiteX27" fmla="*/ 1888119 w 1980000"/>
              <a:gd name="connsiteY27" fmla="*/ 541858 h 579730"/>
              <a:gd name="connsiteX28" fmla="*/ 1842165 w 1980000"/>
              <a:gd name="connsiteY28" fmla="*/ 567409 h 579730"/>
              <a:gd name="connsiteX29" fmla="*/ 1761021 w 1980000"/>
              <a:gd name="connsiteY29" fmla="*/ 547065 h 579730"/>
              <a:gd name="connsiteX30" fmla="*/ 1756948 w 1980000"/>
              <a:gd name="connsiteY30" fmla="*/ 532500 h 579730"/>
              <a:gd name="connsiteX31" fmla="*/ 1825889 w 1980000"/>
              <a:gd name="connsiteY31" fmla="*/ 302235 h 579730"/>
              <a:gd name="connsiteX32" fmla="*/ 1802272 w 1980000"/>
              <a:gd name="connsiteY32" fmla="*/ 270298 h 579730"/>
              <a:gd name="connsiteX33" fmla="*/ 1451249 w 1980000"/>
              <a:gd name="connsiteY33" fmla="*/ 547847 h 579730"/>
              <a:gd name="connsiteX34" fmla="*/ 1399756 w 1980000"/>
              <a:gd name="connsiteY34" fmla="*/ 564508 h 579730"/>
              <a:gd name="connsiteX35" fmla="*/ 1343177 w 1980000"/>
              <a:gd name="connsiteY35" fmla="*/ 549291 h 579730"/>
              <a:gd name="connsiteX36" fmla="*/ 1336972 w 1980000"/>
              <a:gd name="connsiteY36" fmla="*/ 530371 h 579730"/>
              <a:gd name="connsiteX37" fmla="*/ 1343908 w 1980000"/>
              <a:gd name="connsiteY37" fmla="*/ 502189 h 579730"/>
              <a:gd name="connsiteX38" fmla="*/ 1467920 w 1980000"/>
              <a:gd name="connsiteY38" fmla="*/ 156523 h 579730"/>
              <a:gd name="connsiteX39" fmla="*/ 1481646 w 1980000"/>
              <a:gd name="connsiteY39" fmla="*/ 146983 h 579730"/>
              <a:gd name="connsiteX40" fmla="*/ 1522328 w 1980000"/>
              <a:gd name="connsiteY40" fmla="*/ 142753 h 579730"/>
              <a:gd name="connsiteX41" fmla="*/ 1582666 w 1980000"/>
              <a:gd name="connsiteY41" fmla="*/ 151889 h 579730"/>
              <a:gd name="connsiteX42" fmla="*/ 1582791 w 1980000"/>
              <a:gd name="connsiteY42" fmla="*/ 176826 h 579730"/>
              <a:gd name="connsiteX43" fmla="*/ 1618784 w 1980000"/>
              <a:gd name="connsiteY43" fmla="*/ 224640 h 579730"/>
              <a:gd name="connsiteX44" fmla="*/ 1878423 w 1980000"/>
              <a:gd name="connsiteY44" fmla="*/ 123916 h 579730"/>
              <a:gd name="connsiteX45" fmla="*/ 1166217 w 1980000"/>
              <a:gd name="connsiteY45" fmla="*/ 110146 h 579730"/>
              <a:gd name="connsiteX46" fmla="*/ 1352605 w 1980000"/>
              <a:gd name="connsiteY46" fmla="*/ 213774 h 579730"/>
              <a:gd name="connsiteX47" fmla="*/ 1279759 w 1980000"/>
              <a:gd name="connsiteY47" fmla="*/ 426095 h 579730"/>
              <a:gd name="connsiteX48" fmla="*/ 995050 w 1980000"/>
              <a:gd name="connsiteY48" fmla="*/ 567409 h 579730"/>
              <a:gd name="connsiteX49" fmla="*/ 818818 w 1980000"/>
              <a:gd name="connsiteY49" fmla="*/ 465953 h 579730"/>
              <a:gd name="connsiteX50" fmla="*/ 891344 w 1980000"/>
              <a:gd name="connsiteY50" fmla="*/ 257261 h 579730"/>
              <a:gd name="connsiteX51" fmla="*/ 1166217 w 1980000"/>
              <a:gd name="connsiteY51" fmla="*/ 110146 h 579730"/>
              <a:gd name="connsiteX52" fmla="*/ 508412 w 1980000"/>
              <a:gd name="connsiteY52" fmla="*/ 0 h 579730"/>
              <a:gd name="connsiteX53" fmla="*/ 625899 w 1980000"/>
              <a:gd name="connsiteY53" fmla="*/ 224640 h 579730"/>
              <a:gd name="connsiteX54" fmla="*/ 459089 w 1980000"/>
              <a:gd name="connsiteY54" fmla="*/ 379725 h 579730"/>
              <a:gd name="connsiteX55" fmla="*/ 397447 w 1980000"/>
              <a:gd name="connsiteY55" fmla="*/ 379725 h 579730"/>
              <a:gd name="connsiteX56" fmla="*/ 211772 w 1980000"/>
              <a:gd name="connsiteY56" fmla="*/ 376096 h 579730"/>
              <a:gd name="connsiteX57" fmla="*/ 194372 w 1980000"/>
              <a:gd name="connsiteY57" fmla="*/ 379725 h 579730"/>
              <a:gd name="connsiteX58" fmla="*/ 314040 w 1980000"/>
              <a:gd name="connsiteY58" fmla="*/ 484804 h 579730"/>
              <a:gd name="connsiteX59" fmla="*/ 415575 w 1980000"/>
              <a:gd name="connsiteY59" fmla="*/ 440885 h 579730"/>
              <a:gd name="connsiteX60" fmla="*/ 522912 w 1980000"/>
              <a:gd name="connsiteY60" fmla="*/ 433346 h 579730"/>
              <a:gd name="connsiteX61" fmla="*/ 623727 w 1980000"/>
              <a:gd name="connsiteY61" fmla="*/ 463057 h 579730"/>
              <a:gd name="connsiteX62" fmla="*/ 353205 w 1980000"/>
              <a:gd name="connsiteY62" fmla="*/ 579730 h 579730"/>
              <a:gd name="connsiteX63" fmla="*/ 0 w 1980000"/>
              <a:gd name="connsiteY63" fmla="*/ 357261 h 579730"/>
              <a:gd name="connsiteX64" fmla="*/ 508412 w 1980000"/>
              <a:gd name="connsiteY64" fmla="*/ 0 h 579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980000" h="579730">
                <a:moveTo>
                  <a:pt x="754995" y="261609"/>
                </a:moveTo>
                <a:cubicBezTo>
                  <a:pt x="781939" y="261609"/>
                  <a:pt x="807222" y="272804"/>
                  <a:pt x="807222" y="297838"/>
                </a:cubicBezTo>
                <a:cubicBezTo>
                  <a:pt x="807222" y="311603"/>
                  <a:pt x="791178" y="349484"/>
                  <a:pt x="788908" y="355083"/>
                </a:cubicBezTo>
                <a:cubicBezTo>
                  <a:pt x="774485" y="390628"/>
                  <a:pt x="736660" y="396392"/>
                  <a:pt x="710034" y="396392"/>
                </a:cubicBezTo>
                <a:cubicBezTo>
                  <a:pt x="670087" y="396392"/>
                  <a:pt x="656361" y="382058"/>
                  <a:pt x="656361" y="359438"/>
                </a:cubicBezTo>
                <a:cubicBezTo>
                  <a:pt x="656361" y="341932"/>
                  <a:pt x="671098" y="311712"/>
                  <a:pt x="673042" y="307259"/>
                </a:cubicBezTo>
                <a:cubicBezTo>
                  <a:pt x="691026" y="266083"/>
                  <a:pt x="723221" y="261609"/>
                  <a:pt x="754995" y="261609"/>
                </a:cubicBezTo>
                <a:close/>
                <a:moveTo>
                  <a:pt x="1119084" y="220299"/>
                </a:moveTo>
                <a:cubicBezTo>
                  <a:pt x="1105084" y="220299"/>
                  <a:pt x="1084269" y="222477"/>
                  <a:pt x="1074832" y="235514"/>
                </a:cubicBezTo>
                <a:cubicBezTo>
                  <a:pt x="1039503" y="284389"/>
                  <a:pt x="1016090" y="406602"/>
                  <a:pt x="1016090" y="440599"/>
                </a:cubicBezTo>
                <a:cubicBezTo>
                  <a:pt x="1016090" y="463812"/>
                  <a:pt x="1032232" y="462330"/>
                  <a:pt x="1053802" y="462330"/>
                </a:cubicBezTo>
                <a:cubicBezTo>
                  <a:pt x="1066352" y="462330"/>
                  <a:pt x="1086609" y="462647"/>
                  <a:pt x="1098044" y="450746"/>
                </a:cubicBezTo>
                <a:cubicBezTo>
                  <a:pt x="1129084" y="418439"/>
                  <a:pt x="1155866" y="272043"/>
                  <a:pt x="1155866" y="245613"/>
                </a:cubicBezTo>
                <a:cubicBezTo>
                  <a:pt x="1155866" y="226818"/>
                  <a:pt x="1154511" y="220299"/>
                  <a:pt x="1119084" y="220299"/>
                </a:cubicBezTo>
                <a:close/>
                <a:moveTo>
                  <a:pt x="1980000" y="214513"/>
                </a:moveTo>
                <a:lnTo>
                  <a:pt x="1980000" y="214514"/>
                </a:lnTo>
                <a:lnTo>
                  <a:pt x="1980000" y="214514"/>
                </a:lnTo>
                <a:close/>
                <a:moveTo>
                  <a:pt x="443864" y="147101"/>
                </a:moveTo>
                <a:cubicBezTo>
                  <a:pt x="377093" y="147101"/>
                  <a:pt x="259801" y="249130"/>
                  <a:pt x="248038" y="260876"/>
                </a:cubicBezTo>
                <a:cubicBezTo>
                  <a:pt x="239334" y="269579"/>
                  <a:pt x="245844" y="268847"/>
                  <a:pt x="257468" y="268847"/>
                </a:cubicBezTo>
                <a:lnTo>
                  <a:pt x="407597" y="268847"/>
                </a:lnTo>
                <a:cubicBezTo>
                  <a:pt x="460789" y="268847"/>
                  <a:pt x="465614" y="259906"/>
                  <a:pt x="465614" y="210877"/>
                </a:cubicBezTo>
                <a:cubicBezTo>
                  <a:pt x="465614" y="184663"/>
                  <a:pt x="464377" y="147101"/>
                  <a:pt x="443864" y="147101"/>
                </a:cubicBezTo>
                <a:close/>
                <a:moveTo>
                  <a:pt x="1878423" y="123916"/>
                </a:moveTo>
                <a:cubicBezTo>
                  <a:pt x="1919866" y="123916"/>
                  <a:pt x="1945260" y="136692"/>
                  <a:pt x="1960294" y="154404"/>
                </a:cubicBezTo>
                <a:lnTo>
                  <a:pt x="1980000" y="214514"/>
                </a:lnTo>
                <a:lnTo>
                  <a:pt x="1976583" y="246216"/>
                </a:lnTo>
                <a:cubicBezTo>
                  <a:pt x="1961298" y="334541"/>
                  <a:pt x="1899449" y="512052"/>
                  <a:pt x="1888119" y="541858"/>
                </a:cubicBezTo>
                <a:cubicBezTo>
                  <a:pt x="1879605" y="564243"/>
                  <a:pt x="1863296" y="567409"/>
                  <a:pt x="1842165" y="567409"/>
                </a:cubicBezTo>
                <a:cubicBezTo>
                  <a:pt x="1803923" y="567409"/>
                  <a:pt x="1775082" y="558315"/>
                  <a:pt x="1761021" y="547065"/>
                </a:cubicBezTo>
                <a:cubicBezTo>
                  <a:pt x="1758106" y="544751"/>
                  <a:pt x="1754502" y="539781"/>
                  <a:pt x="1756948" y="532500"/>
                </a:cubicBezTo>
                <a:cubicBezTo>
                  <a:pt x="1771323" y="489691"/>
                  <a:pt x="1825889" y="335539"/>
                  <a:pt x="1825889" y="302235"/>
                </a:cubicBezTo>
                <a:cubicBezTo>
                  <a:pt x="1825889" y="284006"/>
                  <a:pt x="1820491" y="270298"/>
                  <a:pt x="1802272" y="270298"/>
                </a:cubicBezTo>
                <a:cubicBezTo>
                  <a:pt x="1691834" y="270298"/>
                  <a:pt x="1488926" y="505756"/>
                  <a:pt x="1451249" y="547847"/>
                </a:cubicBezTo>
                <a:cubicBezTo>
                  <a:pt x="1438921" y="561603"/>
                  <a:pt x="1420857" y="564508"/>
                  <a:pt x="1399756" y="564508"/>
                </a:cubicBezTo>
                <a:cubicBezTo>
                  <a:pt x="1373639" y="564508"/>
                  <a:pt x="1345824" y="550660"/>
                  <a:pt x="1343177" y="549291"/>
                </a:cubicBezTo>
                <a:cubicBezTo>
                  <a:pt x="1334919" y="545027"/>
                  <a:pt x="1334529" y="540316"/>
                  <a:pt x="1336972" y="530371"/>
                </a:cubicBezTo>
                <a:lnTo>
                  <a:pt x="1343908" y="502189"/>
                </a:lnTo>
                <a:cubicBezTo>
                  <a:pt x="1356602" y="450633"/>
                  <a:pt x="1422344" y="259892"/>
                  <a:pt x="1467920" y="156523"/>
                </a:cubicBezTo>
                <a:cubicBezTo>
                  <a:pt x="1469858" y="152154"/>
                  <a:pt x="1471749" y="148525"/>
                  <a:pt x="1481646" y="146983"/>
                </a:cubicBezTo>
                <a:cubicBezTo>
                  <a:pt x="1486243" y="146264"/>
                  <a:pt x="1501324" y="142753"/>
                  <a:pt x="1522328" y="142753"/>
                </a:cubicBezTo>
                <a:cubicBezTo>
                  <a:pt x="1537729" y="142753"/>
                  <a:pt x="1567660" y="143849"/>
                  <a:pt x="1582666" y="151889"/>
                </a:cubicBezTo>
                <a:cubicBezTo>
                  <a:pt x="1582666" y="151889"/>
                  <a:pt x="1582791" y="151666"/>
                  <a:pt x="1582791" y="176826"/>
                </a:cubicBezTo>
                <a:cubicBezTo>
                  <a:pt x="1582791" y="187692"/>
                  <a:pt x="1583979" y="224640"/>
                  <a:pt x="1618784" y="224640"/>
                </a:cubicBezTo>
                <a:cubicBezTo>
                  <a:pt x="1677520" y="224640"/>
                  <a:pt x="1784148" y="123916"/>
                  <a:pt x="1878423" y="123916"/>
                </a:cubicBezTo>
                <a:close/>
                <a:moveTo>
                  <a:pt x="1166217" y="110146"/>
                </a:moveTo>
                <a:cubicBezTo>
                  <a:pt x="1249423" y="110146"/>
                  <a:pt x="1352605" y="123197"/>
                  <a:pt x="1352605" y="213774"/>
                </a:cubicBezTo>
                <a:cubicBezTo>
                  <a:pt x="1352605" y="269565"/>
                  <a:pt x="1297473" y="392064"/>
                  <a:pt x="1279759" y="426095"/>
                </a:cubicBezTo>
                <a:cubicBezTo>
                  <a:pt x="1205698" y="568373"/>
                  <a:pt x="1106753" y="567409"/>
                  <a:pt x="995050" y="567409"/>
                </a:cubicBezTo>
                <a:cubicBezTo>
                  <a:pt x="940469" y="567409"/>
                  <a:pt x="818818" y="568039"/>
                  <a:pt x="818818" y="465953"/>
                </a:cubicBezTo>
                <a:cubicBezTo>
                  <a:pt x="818818" y="420295"/>
                  <a:pt x="858641" y="336609"/>
                  <a:pt x="891344" y="257261"/>
                </a:cubicBezTo>
                <a:cubicBezTo>
                  <a:pt x="905250" y="223517"/>
                  <a:pt x="964498" y="110146"/>
                  <a:pt x="1166217" y="110146"/>
                </a:cubicBezTo>
                <a:close/>
                <a:moveTo>
                  <a:pt x="508412" y="0"/>
                </a:moveTo>
                <a:cubicBezTo>
                  <a:pt x="611796" y="0"/>
                  <a:pt x="625899" y="164521"/>
                  <a:pt x="625899" y="224640"/>
                </a:cubicBezTo>
                <a:cubicBezTo>
                  <a:pt x="625899" y="353085"/>
                  <a:pt x="546821" y="379725"/>
                  <a:pt x="459089" y="379725"/>
                </a:cubicBezTo>
                <a:lnTo>
                  <a:pt x="397447" y="379725"/>
                </a:lnTo>
                <a:cubicBezTo>
                  <a:pt x="335838" y="379725"/>
                  <a:pt x="211772" y="376096"/>
                  <a:pt x="211772" y="376096"/>
                </a:cubicBezTo>
                <a:cubicBezTo>
                  <a:pt x="201818" y="375902"/>
                  <a:pt x="194372" y="373925"/>
                  <a:pt x="194372" y="379725"/>
                </a:cubicBezTo>
                <a:cubicBezTo>
                  <a:pt x="194372" y="421609"/>
                  <a:pt x="241793" y="484804"/>
                  <a:pt x="314040" y="484804"/>
                </a:cubicBezTo>
                <a:cubicBezTo>
                  <a:pt x="370933" y="484804"/>
                  <a:pt x="407597" y="449295"/>
                  <a:pt x="415575" y="440885"/>
                </a:cubicBezTo>
                <a:cubicBezTo>
                  <a:pt x="415575" y="440885"/>
                  <a:pt x="480945" y="433346"/>
                  <a:pt x="522912" y="433346"/>
                </a:cubicBezTo>
                <a:cubicBezTo>
                  <a:pt x="563663" y="433346"/>
                  <a:pt x="623727" y="439866"/>
                  <a:pt x="623727" y="463057"/>
                </a:cubicBezTo>
                <a:cubicBezTo>
                  <a:pt x="623727" y="508296"/>
                  <a:pt x="476623" y="579730"/>
                  <a:pt x="353205" y="579730"/>
                </a:cubicBezTo>
                <a:cubicBezTo>
                  <a:pt x="167382" y="579730"/>
                  <a:pt x="0" y="478867"/>
                  <a:pt x="0" y="357261"/>
                </a:cubicBezTo>
                <a:cubicBezTo>
                  <a:pt x="0" y="153487"/>
                  <a:pt x="393612" y="0"/>
                  <a:pt x="50841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en-GB" noProof="0" smtClean="0"/>
              <a:pPr/>
              <a:t>04/09/202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0"/>
            <a:ext cx="7824788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99EB4-9340-0347-AF3C-D74FCC7E080E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83563" y="1807199"/>
            <a:ext cx="3529012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3563" y="512763"/>
            <a:ext cx="3528436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00" y="5759167"/>
            <a:ext cx="7092375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900" b="0"/>
            </a:lvl1pPr>
          </a:lstStyle>
          <a:p>
            <a:pPr lvl="0"/>
            <a:r>
              <a:rPr lang="en-GB" noProof="0"/>
              <a:t>Footnote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3" y="1399160"/>
            <a:ext cx="709180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Insert graph/table</a:t>
            </a:r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851410"/>
            <a:ext cx="7092375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noProof="0"/>
              <a:t>Unit measure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512763"/>
            <a:ext cx="7092375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noProof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96840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3" pos="4770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FC8AF-567C-5F49-8E44-47B93969B66E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Insert graph/table</a:t>
            </a:r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noProof="0"/>
              <a:t>Unit measure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noProof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GB" sz="1400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CDB24E5-50DF-AB48-84B3-580C5F8120F5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Heading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2331936"/>
            <a:ext cx="6444668" cy="1557151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noProof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481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C2EE32AD-0752-744D-B6FE-A4C1BE5DF0E1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Heading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331936"/>
            <a:ext cx="5976615" cy="1547626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noProof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17055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6275388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GB" sz="1400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5E0F0B2-06FB-E449-A0E9-9299E25AD56D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5388" y="0"/>
            <a:ext cx="5916612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Heading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02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GB" sz="1400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488086D-EEA1-CF4E-B791-0B497494499F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Edit contact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4"/>
            <a:ext cx="9288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/>
              <a:t>Edit closing statement</a:t>
            </a:r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1202233"/>
            <a:ext cx="9288001" cy="635639"/>
          </a:xfrm>
        </p:spPr>
        <p:txBody>
          <a:bodyPr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noProof="0"/>
              <a:t>Mintaszöveg szerkesztése</a:t>
            </a:r>
          </a:p>
        </p:txBody>
      </p:sp>
      <p:sp>
        <p:nvSpPr>
          <p:cNvPr id="10" name="Grafik 11">
            <a:extLst>
              <a:ext uri="{FF2B5EF4-FFF2-40B4-BE49-F238E27FC236}">
                <a16:creationId xmlns:a16="http://schemas.microsoft.com/office/drawing/2014/main" id="{D3F24D8E-7CED-92A1-266C-6A8BE227293B}"/>
              </a:ext>
            </a:extLst>
          </p:cNvPr>
          <p:cNvSpPr>
            <a:spLocks noChangeAspect="1"/>
          </p:cNvSpPr>
          <p:nvPr userDrawn="1"/>
        </p:nvSpPr>
        <p:spPr>
          <a:xfrm>
            <a:off x="479425" y="5863136"/>
            <a:ext cx="1646555" cy="482100"/>
          </a:xfrm>
          <a:custGeom>
            <a:avLst/>
            <a:gdLst>
              <a:gd name="connsiteX0" fmla="*/ 12192000 w 12192000"/>
              <a:gd name="connsiteY0" fmla="*/ 1320881 h 3569732"/>
              <a:gd name="connsiteX1" fmla="*/ 11626234 w 12192000"/>
              <a:gd name="connsiteY1" fmla="*/ 3336532 h 3569732"/>
              <a:gd name="connsiteX2" fmla="*/ 11343268 w 12192000"/>
              <a:gd name="connsiteY2" fmla="*/ 3493865 h 3569732"/>
              <a:gd name="connsiteX3" fmla="*/ 10843621 w 12192000"/>
              <a:gd name="connsiteY3" fmla="*/ 3368594 h 3569732"/>
              <a:gd name="connsiteX4" fmla="*/ 10818543 w 12192000"/>
              <a:gd name="connsiteY4" fmla="*/ 3278906 h 3569732"/>
              <a:gd name="connsiteX5" fmla="*/ 11243050 w 12192000"/>
              <a:gd name="connsiteY5" fmla="*/ 1861035 h 3569732"/>
              <a:gd name="connsiteX6" fmla="*/ 11097628 w 12192000"/>
              <a:gd name="connsiteY6" fmla="*/ 1664382 h 3569732"/>
              <a:gd name="connsiteX7" fmla="*/ 8936174 w 12192000"/>
              <a:gd name="connsiteY7" fmla="*/ 3373408 h 3569732"/>
              <a:gd name="connsiteX8" fmla="*/ 8619106 w 12192000"/>
              <a:gd name="connsiteY8" fmla="*/ 3475999 h 3569732"/>
              <a:gd name="connsiteX9" fmla="*/ 8270715 w 12192000"/>
              <a:gd name="connsiteY9" fmla="*/ 3382303 h 3569732"/>
              <a:gd name="connsiteX10" fmla="*/ 8232508 w 12192000"/>
              <a:gd name="connsiteY10" fmla="*/ 3265797 h 3569732"/>
              <a:gd name="connsiteX11" fmla="*/ 8275217 w 12192000"/>
              <a:gd name="connsiteY11" fmla="*/ 3092264 h 3569732"/>
              <a:gd name="connsiteX12" fmla="*/ 9038830 w 12192000"/>
              <a:gd name="connsiteY12" fmla="*/ 963802 h 3569732"/>
              <a:gd name="connsiteX13" fmla="*/ 9123348 w 12192000"/>
              <a:gd name="connsiteY13" fmla="*/ 905056 h 3569732"/>
              <a:gd name="connsiteX14" fmla="*/ 9373847 w 12192000"/>
              <a:gd name="connsiteY14" fmla="*/ 879013 h 3569732"/>
              <a:gd name="connsiteX15" fmla="*/ 9745385 w 12192000"/>
              <a:gd name="connsiteY15" fmla="*/ 935266 h 3569732"/>
              <a:gd name="connsiteX16" fmla="*/ 9746154 w 12192000"/>
              <a:gd name="connsiteY16" fmla="*/ 1088816 h 3569732"/>
              <a:gd name="connsiteX17" fmla="*/ 9967785 w 12192000"/>
              <a:gd name="connsiteY17" fmla="*/ 1383238 h 3569732"/>
              <a:gd name="connsiteX18" fmla="*/ 11566531 w 12192000"/>
              <a:gd name="connsiteY18" fmla="*/ 763023 h 3569732"/>
              <a:gd name="connsiteX19" fmla="*/ 12192000 w 12192000"/>
              <a:gd name="connsiteY19" fmla="*/ 1320882 h 3569732"/>
              <a:gd name="connsiteX20" fmla="*/ 4970529 w 12192000"/>
              <a:gd name="connsiteY20" fmla="*/ 1833961 h 3569732"/>
              <a:gd name="connsiteX21" fmla="*/ 4857762 w 12192000"/>
              <a:gd name="connsiteY21" fmla="*/ 2186449 h 3569732"/>
              <a:gd name="connsiteX22" fmla="*/ 4372089 w 12192000"/>
              <a:gd name="connsiteY22" fmla="*/ 2440812 h 3569732"/>
              <a:gd name="connsiteX23" fmla="*/ 4041592 w 12192000"/>
              <a:gd name="connsiteY23" fmla="*/ 2213268 h 3569732"/>
              <a:gd name="connsiteX24" fmla="*/ 4144305 w 12192000"/>
              <a:gd name="connsiteY24" fmla="*/ 1891971 h 3569732"/>
              <a:gd name="connsiteX25" fmla="*/ 4648941 w 12192000"/>
              <a:gd name="connsiteY25" fmla="*/ 1610878 h 3569732"/>
              <a:gd name="connsiteX26" fmla="*/ 4970529 w 12192000"/>
              <a:gd name="connsiteY26" fmla="*/ 1833961 h 3569732"/>
              <a:gd name="connsiteX27" fmla="*/ 2867052 w 12192000"/>
              <a:gd name="connsiteY27" fmla="*/ 1298492 h 3569732"/>
              <a:gd name="connsiteX28" fmla="*/ 2733128 w 12192000"/>
              <a:gd name="connsiteY28" fmla="*/ 905786 h 3569732"/>
              <a:gd name="connsiteX29" fmla="*/ 1527312 w 12192000"/>
              <a:gd name="connsiteY29" fmla="*/ 1606364 h 3569732"/>
              <a:gd name="connsiteX30" fmla="*/ 1585376 w 12192000"/>
              <a:gd name="connsiteY30" fmla="*/ 1655443 h 3569732"/>
              <a:gd name="connsiteX31" fmla="*/ 2509808 w 12192000"/>
              <a:gd name="connsiteY31" fmla="*/ 1655443 h 3569732"/>
              <a:gd name="connsiteX32" fmla="*/ 2867052 w 12192000"/>
              <a:gd name="connsiteY32" fmla="*/ 1298492 h 3569732"/>
              <a:gd name="connsiteX33" fmla="*/ 3854023 w 12192000"/>
              <a:gd name="connsiteY33" fmla="*/ 1383238 h 3569732"/>
              <a:gd name="connsiteX34" fmla="*/ 2826875 w 12192000"/>
              <a:gd name="connsiteY34" fmla="*/ 2338183 h 3569732"/>
              <a:gd name="connsiteX35" fmla="*/ 2447310 w 12192000"/>
              <a:gd name="connsiteY35" fmla="*/ 2338183 h 3569732"/>
              <a:gd name="connsiteX36" fmla="*/ 1304000 w 12192000"/>
              <a:gd name="connsiteY36" fmla="*/ 2315841 h 3569732"/>
              <a:gd name="connsiteX37" fmla="*/ 1196861 w 12192000"/>
              <a:gd name="connsiteY37" fmla="*/ 2338183 h 3569732"/>
              <a:gd name="connsiteX38" fmla="*/ 1933726 w 12192000"/>
              <a:gd name="connsiteY38" fmla="*/ 2985215 h 3569732"/>
              <a:gd name="connsiteX39" fmla="*/ 2558932 w 12192000"/>
              <a:gd name="connsiteY39" fmla="*/ 2714783 h 3569732"/>
              <a:gd name="connsiteX40" fmla="*/ 3219870 w 12192000"/>
              <a:gd name="connsiteY40" fmla="*/ 2668357 h 3569732"/>
              <a:gd name="connsiteX41" fmla="*/ 3840649 w 12192000"/>
              <a:gd name="connsiteY41" fmla="*/ 2851310 h 3569732"/>
              <a:gd name="connsiteX42" fmla="*/ 2174884 w 12192000"/>
              <a:gd name="connsiteY42" fmla="*/ 3569733 h 3569732"/>
              <a:gd name="connsiteX43" fmla="*/ 0 w 12192000"/>
              <a:gd name="connsiteY43" fmla="*/ 2199858 h 3569732"/>
              <a:gd name="connsiteX44" fmla="*/ 3130587 w 12192000"/>
              <a:gd name="connsiteY44" fmla="*/ 0 h 3569732"/>
              <a:gd name="connsiteX45" fmla="*/ 3854023 w 12192000"/>
              <a:gd name="connsiteY45" fmla="*/ 1383238 h 3569732"/>
              <a:gd name="connsiteX46" fmla="*/ 6890844 w 12192000"/>
              <a:gd name="connsiteY46" fmla="*/ 1356508 h 3569732"/>
              <a:gd name="connsiteX47" fmla="*/ 6618362 w 12192000"/>
              <a:gd name="connsiteY47" fmla="*/ 1450194 h 3569732"/>
              <a:gd name="connsiteX48" fmla="*/ 6256653 w 12192000"/>
              <a:gd name="connsiteY48" fmla="*/ 2713023 h 3569732"/>
              <a:gd name="connsiteX49" fmla="*/ 6488864 w 12192000"/>
              <a:gd name="connsiteY49" fmla="*/ 2846834 h 3569732"/>
              <a:gd name="connsiteX50" fmla="*/ 6761289 w 12192000"/>
              <a:gd name="connsiteY50" fmla="*/ 2775499 h 3569732"/>
              <a:gd name="connsiteX51" fmla="*/ 7117333 w 12192000"/>
              <a:gd name="connsiteY51" fmla="*/ 1512379 h 3569732"/>
              <a:gd name="connsiteX52" fmla="*/ 6890844 w 12192000"/>
              <a:gd name="connsiteY52" fmla="*/ 1356508 h 3569732"/>
              <a:gd name="connsiteX53" fmla="*/ 8328768 w 12192000"/>
              <a:gd name="connsiteY53" fmla="*/ 1316327 h 3569732"/>
              <a:gd name="connsiteX54" fmla="*/ 7880215 w 12192000"/>
              <a:gd name="connsiteY54" fmla="*/ 2623709 h 3569732"/>
              <a:gd name="connsiteX55" fmla="*/ 6127099 w 12192000"/>
              <a:gd name="connsiteY55" fmla="*/ 3493865 h 3569732"/>
              <a:gd name="connsiteX56" fmla="*/ 5041936 w 12192000"/>
              <a:gd name="connsiteY56" fmla="*/ 2869139 h 3569732"/>
              <a:gd name="connsiteX57" fmla="*/ 5488520 w 12192000"/>
              <a:gd name="connsiteY57" fmla="*/ 1584104 h 3569732"/>
              <a:gd name="connsiteX58" fmla="*/ 7181069 w 12192000"/>
              <a:gd name="connsiteY58" fmla="*/ 678232 h 3569732"/>
              <a:gd name="connsiteX59" fmla="*/ 8328768 w 12192000"/>
              <a:gd name="connsiteY59" fmla="*/ 1316327 h 356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2192000" h="3569732">
                <a:moveTo>
                  <a:pt x="12192000" y="1320881"/>
                </a:moveTo>
                <a:cubicBezTo>
                  <a:pt x="12192000" y="1729102"/>
                  <a:pt x="11705971" y="3126779"/>
                  <a:pt x="11626234" y="3336532"/>
                </a:cubicBezTo>
                <a:cubicBezTo>
                  <a:pt x="11573809" y="3474370"/>
                  <a:pt x="11473385" y="3493865"/>
                  <a:pt x="11343268" y="3493865"/>
                </a:cubicBezTo>
                <a:cubicBezTo>
                  <a:pt x="11107794" y="3493865"/>
                  <a:pt x="10930203" y="3437869"/>
                  <a:pt x="10843621" y="3368594"/>
                </a:cubicBezTo>
                <a:cubicBezTo>
                  <a:pt x="10825671" y="3354342"/>
                  <a:pt x="10803482" y="3323741"/>
                  <a:pt x="10818543" y="3278906"/>
                </a:cubicBezTo>
                <a:cubicBezTo>
                  <a:pt x="10907057" y="3015310"/>
                  <a:pt x="11243050" y="2066104"/>
                  <a:pt x="11243050" y="1861035"/>
                </a:cubicBezTo>
                <a:cubicBezTo>
                  <a:pt x="11243050" y="1748785"/>
                  <a:pt x="11209812" y="1664382"/>
                  <a:pt x="11097628" y="1664382"/>
                </a:cubicBezTo>
                <a:cubicBezTo>
                  <a:pt x="10417596" y="1664382"/>
                  <a:pt x="9168178" y="3114232"/>
                  <a:pt x="8936174" y="3373408"/>
                </a:cubicBezTo>
                <a:cubicBezTo>
                  <a:pt x="8860264" y="3458114"/>
                  <a:pt x="8749035" y="3475999"/>
                  <a:pt x="8619106" y="3475999"/>
                </a:cubicBezTo>
                <a:cubicBezTo>
                  <a:pt x="8458284" y="3475999"/>
                  <a:pt x="8287015" y="3390731"/>
                  <a:pt x="8270715" y="3382303"/>
                </a:cubicBezTo>
                <a:cubicBezTo>
                  <a:pt x="8219865" y="3356047"/>
                  <a:pt x="8217464" y="3327037"/>
                  <a:pt x="8232508" y="3265797"/>
                </a:cubicBezTo>
                <a:lnTo>
                  <a:pt x="8275217" y="3092264"/>
                </a:lnTo>
                <a:cubicBezTo>
                  <a:pt x="8353377" y="2774807"/>
                  <a:pt x="8758189" y="1600306"/>
                  <a:pt x="9038830" y="963802"/>
                </a:cubicBezTo>
                <a:cubicBezTo>
                  <a:pt x="9050759" y="936899"/>
                  <a:pt x="9062407" y="914553"/>
                  <a:pt x="9123348" y="905056"/>
                </a:cubicBezTo>
                <a:cubicBezTo>
                  <a:pt x="9151653" y="900629"/>
                  <a:pt x="9244519" y="879013"/>
                  <a:pt x="9373847" y="879013"/>
                </a:cubicBezTo>
                <a:cubicBezTo>
                  <a:pt x="9468682" y="879013"/>
                  <a:pt x="9652988" y="885759"/>
                  <a:pt x="9745385" y="935266"/>
                </a:cubicBezTo>
                <a:cubicBezTo>
                  <a:pt x="9745385" y="935266"/>
                  <a:pt x="9746154" y="933891"/>
                  <a:pt x="9746154" y="1088816"/>
                </a:cubicBezTo>
                <a:cubicBezTo>
                  <a:pt x="9746154" y="1155729"/>
                  <a:pt x="9753468" y="1383238"/>
                  <a:pt x="9967785" y="1383238"/>
                </a:cubicBezTo>
                <a:cubicBezTo>
                  <a:pt x="10329456" y="1383238"/>
                  <a:pt x="10986024" y="763023"/>
                  <a:pt x="11566531" y="763023"/>
                </a:cubicBezTo>
                <a:cubicBezTo>
                  <a:pt x="12076908" y="763023"/>
                  <a:pt x="12192000" y="1077686"/>
                  <a:pt x="12192000" y="1320882"/>
                </a:cubicBezTo>
                <a:moveTo>
                  <a:pt x="4970529" y="1833961"/>
                </a:moveTo>
                <a:cubicBezTo>
                  <a:pt x="4970529" y="1918715"/>
                  <a:pt x="4871736" y="2151971"/>
                  <a:pt x="4857762" y="2186449"/>
                </a:cubicBezTo>
                <a:cubicBezTo>
                  <a:pt x="4768948" y="2405323"/>
                  <a:pt x="4536043" y="2440812"/>
                  <a:pt x="4372089" y="2440812"/>
                </a:cubicBezTo>
                <a:cubicBezTo>
                  <a:pt x="4126110" y="2440812"/>
                  <a:pt x="4041592" y="2352547"/>
                  <a:pt x="4041592" y="2213268"/>
                </a:cubicBezTo>
                <a:cubicBezTo>
                  <a:pt x="4041592" y="2105470"/>
                  <a:pt x="4132338" y="1919389"/>
                  <a:pt x="4144305" y="1891971"/>
                </a:cubicBezTo>
                <a:cubicBezTo>
                  <a:pt x="4255046" y="1638425"/>
                  <a:pt x="4453288" y="1610878"/>
                  <a:pt x="4648941" y="1610878"/>
                </a:cubicBezTo>
                <a:cubicBezTo>
                  <a:pt x="4814846" y="1610878"/>
                  <a:pt x="4970529" y="1679810"/>
                  <a:pt x="4970529" y="1833961"/>
                </a:cubicBezTo>
                <a:moveTo>
                  <a:pt x="2867052" y="1298492"/>
                </a:moveTo>
                <a:cubicBezTo>
                  <a:pt x="2867052" y="1137078"/>
                  <a:pt x="2859437" y="905786"/>
                  <a:pt x="2733128" y="905786"/>
                </a:cubicBezTo>
                <a:cubicBezTo>
                  <a:pt x="2321976" y="905786"/>
                  <a:pt x="1599742" y="1534037"/>
                  <a:pt x="1527312" y="1606364"/>
                </a:cubicBezTo>
                <a:cubicBezTo>
                  <a:pt x="1473720" y="1659955"/>
                  <a:pt x="1513806" y="1655443"/>
                  <a:pt x="1585376" y="1655443"/>
                </a:cubicBezTo>
                <a:lnTo>
                  <a:pt x="2509808" y="1655443"/>
                </a:lnTo>
                <a:cubicBezTo>
                  <a:pt x="2837341" y="1655443"/>
                  <a:pt x="2867052" y="1600392"/>
                  <a:pt x="2867052" y="1298492"/>
                </a:cubicBezTo>
                <a:moveTo>
                  <a:pt x="3854023" y="1383238"/>
                </a:moveTo>
                <a:cubicBezTo>
                  <a:pt x="3854023" y="2174145"/>
                  <a:pt x="3367093" y="2338183"/>
                  <a:pt x="2826875" y="2338183"/>
                </a:cubicBezTo>
                <a:lnTo>
                  <a:pt x="2447310" y="2338183"/>
                </a:lnTo>
                <a:cubicBezTo>
                  <a:pt x="2067951" y="2338183"/>
                  <a:pt x="1304000" y="2315841"/>
                  <a:pt x="1304000" y="2315841"/>
                </a:cubicBezTo>
                <a:cubicBezTo>
                  <a:pt x="1242710" y="2314642"/>
                  <a:pt x="1196861" y="2302469"/>
                  <a:pt x="1196861" y="2338183"/>
                </a:cubicBezTo>
                <a:cubicBezTo>
                  <a:pt x="1196861" y="2596086"/>
                  <a:pt x="1488861" y="2985215"/>
                  <a:pt x="1933726" y="2985215"/>
                </a:cubicBezTo>
                <a:cubicBezTo>
                  <a:pt x="2284049" y="2985215"/>
                  <a:pt x="2509808" y="2766566"/>
                  <a:pt x="2558932" y="2714783"/>
                </a:cubicBezTo>
                <a:cubicBezTo>
                  <a:pt x="2558932" y="2714783"/>
                  <a:pt x="2961456" y="2668357"/>
                  <a:pt x="3219870" y="2668357"/>
                </a:cubicBezTo>
                <a:cubicBezTo>
                  <a:pt x="3470800" y="2668357"/>
                  <a:pt x="3840649" y="2708509"/>
                  <a:pt x="3840649" y="2851310"/>
                </a:cubicBezTo>
                <a:cubicBezTo>
                  <a:pt x="3840649" y="3129869"/>
                  <a:pt x="2934840" y="3569733"/>
                  <a:pt x="2174884" y="3569733"/>
                </a:cubicBezTo>
                <a:cubicBezTo>
                  <a:pt x="1030667" y="3569732"/>
                  <a:pt x="0" y="2948658"/>
                  <a:pt x="0" y="2199858"/>
                </a:cubicBezTo>
                <a:cubicBezTo>
                  <a:pt x="0" y="945107"/>
                  <a:pt x="2423695" y="0"/>
                  <a:pt x="3130587" y="0"/>
                </a:cubicBezTo>
                <a:cubicBezTo>
                  <a:pt x="3767178" y="0"/>
                  <a:pt x="3854023" y="1013050"/>
                  <a:pt x="3854023" y="1383238"/>
                </a:cubicBezTo>
                <a:moveTo>
                  <a:pt x="6890844" y="1356508"/>
                </a:moveTo>
                <a:cubicBezTo>
                  <a:pt x="6804637" y="1356508"/>
                  <a:pt x="6676471" y="1369917"/>
                  <a:pt x="6618362" y="1450194"/>
                </a:cubicBezTo>
                <a:cubicBezTo>
                  <a:pt x="6400819" y="1751148"/>
                  <a:pt x="6256653" y="2503682"/>
                  <a:pt x="6256653" y="2713023"/>
                </a:cubicBezTo>
                <a:cubicBezTo>
                  <a:pt x="6256653" y="2855954"/>
                  <a:pt x="6356046" y="2846834"/>
                  <a:pt x="6488864" y="2846834"/>
                </a:cubicBezTo>
                <a:cubicBezTo>
                  <a:pt x="6566143" y="2846834"/>
                  <a:pt x="6690876" y="2848782"/>
                  <a:pt x="6761289" y="2775499"/>
                </a:cubicBezTo>
                <a:cubicBezTo>
                  <a:pt x="6952423" y="2576571"/>
                  <a:pt x="7117333" y="1675126"/>
                  <a:pt x="7117333" y="1512379"/>
                </a:cubicBezTo>
                <a:cubicBezTo>
                  <a:pt x="7117333" y="1396647"/>
                  <a:pt x="7108987" y="1356508"/>
                  <a:pt x="6890844" y="1356508"/>
                </a:cubicBezTo>
                <a:moveTo>
                  <a:pt x="8328768" y="1316327"/>
                </a:moveTo>
                <a:cubicBezTo>
                  <a:pt x="8328768" y="1659868"/>
                  <a:pt x="7989286" y="2414162"/>
                  <a:pt x="7880215" y="2623709"/>
                </a:cubicBezTo>
                <a:cubicBezTo>
                  <a:pt x="7424178" y="3499802"/>
                  <a:pt x="6814916" y="3493865"/>
                  <a:pt x="6127099" y="3493865"/>
                </a:cubicBezTo>
                <a:cubicBezTo>
                  <a:pt x="5791012" y="3493865"/>
                  <a:pt x="5041936" y="3497742"/>
                  <a:pt x="5041936" y="2869139"/>
                </a:cubicBezTo>
                <a:cubicBezTo>
                  <a:pt x="5041936" y="2587995"/>
                  <a:pt x="5287146" y="2072696"/>
                  <a:pt x="5488520" y="1584104"/>
                </a:cubicBezTo>
                <a:cubicBezTo>
                  <a:pt x="5574145" y="1376320"/>
                  <a:pt x="5938967" y="678232"/>
                  <a:pt x="7181069" y="678232"/>
                </a:cubicBezTo>
                <a:cubicBezTo>
                  <a:pt x="7693415" y="678232"/>
                  <a:pt x="8328768" y="758596"/>
                  <a:pt x="8328768" y="1316327"/>
                </a:cubicBezTo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51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noProof="0" dirty="0"/>
              <a:t>Insert Pic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E1661ABF-B6C1-304A-B785-E576099AC068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Edit contact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575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/>
              <a:t>Edit closing statement</a:t>
            </a:r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202233"/>
            <a:ext cx="11233150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hu-HU" noProof="0"/>
              <a:t>Mintaszöveg szerkesztés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09A99D1-7ABA-1CCE-4602-F480B6F5528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6" y="5863136"/>
            <a:ext cx="1646555" cy="482100"/>
          </a:xfrm>
          <a:custGeom>
            <a:avLst/>
            <a:gdLst>
              <a:gd name="connsiteX0" fmla="*/ 627849 w 1646555"/>
              <a:gd name="connsiteY0" fmla="*/ 217553 h 482100"/>
              <a:gd name="connsiteX1" fmla="*/ 671280 w 1646555"/>
              <a:gd name="connsiteY1" fmla="*/ 247681 h 482100"/>
              <a:gd name="connsiteX2" fmla="*/ 656051 w 1646555"/>
              <a:gd name="connsiteY2" fmla="*/ 295285 h 482100"/>
              <a:gd name="connsiteX3" fmla="*/ 590460 w 1646555"/>
              <a:gd name="connsiteY3" fmla="*/ 329637 h 482100"/>
              <a:gd name="connsiteX4" fmla="*/ 545826 w 1646555"/>
              <a:gd name="connsiteY4" fmla="*/ 298907 h 482100"/>
              <a:gd name="connsiteX5" fmla="*/ 559697 w 1646555"/>
              <a:gd name="connsiteY5" fmla="*/ 255515 h 482100"/>
              <a:gd name="connsiteX6" fmla="*/ 627849 w 1646555"/>
              <a:gd name="connsiteY6" fmla="*/ 217553 h 482100"/>
              <a:gd name="connsiteX7" fmla="*/ 930623 w 1646555"/>
              <a:gd name="connsiteY7" fmla="*/ 183200 h 482100"/>
              <a:gd name="connsiteX8" fmla="*/ 893824 w 1646555"/>
              <a:gd name="connsiteY8" fmla="*/ 195852 h 482100"/>
              <a:gd name="connsiteX9" fmla="*/ 844974 w 1646555"/>
              <a:gd name="connsiteY9" fmla="*/ 366400 h 482100"/>
              <a:gd name="connsiteX10" fmla="*/ 876335 w 1646555"/>
              <a:gd name="connsiteY10" fmla="*/ 384471 h 482100"/>
              <a:gd name="connsiteX11" fmla="*/ 913126 w 1646555"/>
              <a:gd name="connsiteY11" fmla="*/ 374837 h 482100"/>
              <a:gd name="connsiteX12" fmla="*/ 961211 w 1646555"/>
              <a:gd name="connsiteY12" fmla="*/ 204250 h 482100"/>
              <a:gd name="connsiteX13" fmla="*/ 930623 w 1646555"/>
              <a:gd name="connsiteY13" fmla="*/ 183200 h 482100"/>
              <a:gd name="connsiteX14" fmla="*/ 369115 w 1646555"/>
              <a:gd name="connsiteY14" fmla="*/ 122329 h 482100"/>
              <a:gd name="connsiteX15" fmla="*/ 206267 w 1646555"/>
              <a:gd name="connsiteY15" fmla="*/ 216943 h 482100"/>
              <a:gd name="connsiteX16" fmla="*/ 214108 w 1646555"/>
              <a:gd name="connsiteY16" fmla="*/ 223571 h 482100"/>
              <a:gd name="connsiteX17" fmla="*/ 338955 w 1646555"/>
              <a:gd name="connsiteY17" fmla="*/ 223571 h 482100"/>
              <a:gd name="connsiteX18" fmla="*/ 387201 w 1646555"/>
              <a:gd name="connsiteY18" fmla="*/ 175364 h 482100"/>
              <a:gd name="connsiteX19" fmla="*/ 369115 w 1646555"/>
              <a:gd name="connsiteY19" fmla="*/ 122329 h 482100"/>
              <a:gd name="connsiteX20" fmla="*/ 1562084 w 1646555"/>
              <a:gd name="connsiteY20" fmla="*/ 103048 h 482100"/>
              <a:gd name="connsiteX21" fmla="*/ 1646555 w 1646555"/>
              <a:gd name="connsiteY21" fmla="*/ 178388 h 482100"/>
              <a:gd name="connsiteX22" fmla="*/ 1570147 w 1646555"/>
              <a:gd name="connsiteY22" fmla="*/ 450606 h 482100"/>
              <a:gd name="connsiteX23" fmla="*/ 1531932 w 1646555"/>
              <a:gd name="connsiteY23" fmla="*/ 471854 h 482100"/>
              <a:gd name="connsiteX24" fmla="*/ 1464454 w 1646555"/>
              <a:gd name="connsiteY24" fmla="*/ 454936 h 482100"/>
              <a:gd name="connsiteX25" fmla="*/ 1461067 w 1646555"/>
              <a:gd name="connsiteY25" fmla="*/ 442824 h 482100"/>
              <a:gd name="connsiteX26" fmla="*/ 1518397 w 1646555"/>
              <a:gd name="connsiteY26" fmla="*/ 251337 h 482100"/>
              <a:gd name="connsiteX27" fmla="*/ 1498758 w 1646555"/>
              <a:gd name="connsiteY27" fmla="*/ 224779 h 482100"/>
              <a:gd name="connsiteX28" fmla="*/ 1206849 w 1646555"/>
              <a:gd name="connsiteY28" fmla="*/ 455586 h 482100"/>
              <a:gd name="connsiteX29" fmla="*/ 1164028 w 1646555"/>
              <a:gd name="connsiteY29" fmla="*/ 469441 h 482100"/>
              <a:gd name="connsiteX30" fmla="*/ 1116977 w 1646555"/>
              <a:gd name="connsiteY30" fmla="*/ 456788 h 482100"/>
              <a:gd name="connsiteX31" fmla="*/ 1111817 w 1646555"/>
              <a:gd name="connsiteY31" fmla="*/ 441053 h 482100"/>
              <a:gd name="connsiteX32" fmla="*/ 1117585 w 1646555"/>
              <a:gd name="connsiteY32" fmla="*/ 417617 h 482100"/>
              <a:gd name="connsiteX33" fmla="*/ 1220713 w 1646555"/>
              <a:gd name="connsiteY33" fmla="*/ 130164 h 482100"/>
              <a:gd name="connsiteX34" fmla="*/ 1232127 w 1646555"/>
              <a:gd name="connsiteY34" fmla="*/ 122230 h 482100"/>
              <a:gd name="connsiteX35" fmla="*/ 1265958 w 1646555"/>
              <a:gd name="connsiteY35" fmla="*/ 118713 h 482100"/>
              <a:gd name="connsiteX36" fmla="*/ 1316135 w 1646555"/>
              <a:gd name="connsiteY36" fmla="*/ 126310 h 482100"/>
              <a:gd name="connsiteX37" fmla="*/ 1316238 w 1646555"/>
              <a:gd name="connsiteY37" fmla="*/ 147047 h 482100"/>
              <a:gd name="connsiteX38" fmla="*/ 1346170 w 1646555"/>
              <a:gd name="connsiteY38" fmla="*/ 186810 h 482100"/>
              <a:gd name="connsiteX39" fmla="*/ 1562084 w 1646555"/>
              <a:gd name="connsiteY39" fmla="*/ 103048 h 482100"/>
              <a:gd name="connsiteX40" fmla="*/ 969818 w 1646555"/>
              <a:gd name="connsiteY40" fmla="*/ 91597 h 482100"/>
              <a:gd name="connsiteX41" fmla="*/ 1124818 w 1646555"/>
              <a:gd name="connsiteY41" fmla="*/ 177773 h 482100"/>
              <a:gd name="connsiteX42" fmla="*/ 1064240 w 1646555"/>
              <a:gd name="connsiteY42" fmla="*/ 354338 h 482100"/>
              <a:gd name="connsiteX43" fmla="*/ 827478 w 1646555"/>
              <a:gd name="connsiteY43" fmla="*/ 471854 h 482100"/>
              <a:gd name="connsiteX44" fmla="*/ 680924 w 1646555"/>
              <a:gd name="connsiteY44" fmla="*/ 387484 h 482100"/>
              <a:gd name="connsiteX45" fmla="*/ 741236 w 1646555"/>
              <a:gd name="connsiteY45" fmla="*/ 213937 h 482100"/>
              <a:gd name="connsiteX46" fmla="*/ 969818 w 1646555"/>
              <a:gd name="connsiteY46" fmla="*/ 91597 h 482100"/>
              <a:gd name="connsiteX47" fmla="*/ 422792 w 1646555"/>
              <a:gd name="connsiteY47" fmla="*/ 0 h 482100"/>
              <a:gd name="connsiteX48" fmla="*/ 520494 w 1646555"/>
              <a:gd name="connsiteY48" fmla="*/ 186810 h 482100"/>
              <a:gd name="connsiteX49" fmla="*/ 381775 w 1646555"/>
              <a:gd name="connsiteY49" fmla="*/ 315777 h 482100"/>
              <a:gd name="connsiteX50" fmla="*/ 330514 w 1646555"/>
              <a:gd name="connsiteY50" fmla="*/ 315777 h 482100"/>
              <a:gd name="connsiteX51" fmla="*/ 176108 w 1646555"/>
              <a:gd name="connsiteY51" fmla="*/ 312760 h 482100"/>
              <a:gd name="connsiteX52" fmla="*/ 161639 w 1646555"/>
              <a:gd name="connsiteY52" fmla="*/ 315777 h 482100"/>
              <a:gd name="connsiteX53" fmla="*/ 261154 w 1646555"/>
              <a:gd name="connsiteY53" fmla="*/ 403160 h 482100"/>
              <a:gd name="connsiteX54" fmla="*/ 345589 w 1646555"/>
              <a:gd name="connsiteY54" fmla="*/ 366638 h 482100"/>
              <a:gd name="connsiteX55" fmla="*/ 434850 w 1646555"/>
              <a:gd name="connsiteY55" fmla="*/ 360368 h 482100"/>
              <a:gd name="connsiteX56" fmla="*/ 518688 w 1646555"/>
              <a:gd name="connsiteY56" fmla="*/ 385076 h 482100"/>
              <a:gd name="connsiteX57" fmla="*/ 293723 w 1646555"/>
              <a:gd name="connsiteY57" fmla="*/ 482100 h 482100"/>
              <a:gd name="connsiteX58" fmla="*/ 0 w 1646555"/>
              <a:gd name="connsiteY58" fmla="*/ 297096 h 482100"/>
              <a:gd name="connsiteX59" fmla="*/ 422792 w 1646555"/>
              <a:gd name="connsiteY59" fmla="*/ 0 h 48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646555" h="482100">
                <a:moveTo>
                  <a:pt x="627849" y="217553"/>
                </a:moveTo>
                <a:cubicBezTo>
                  <a:pt x="650255" y="217553"/>
                  <a:pt x="671280" y="226862"/>
                  <a:pt x="671280" y="247681"/>
                </a:cubicBezTo>
                <a:cubicBezTo>
                  <a:pt x="671280" y="259127"/>
                  <a:pt x="657938" y="290629"/>
                  <a:pt x="656051" y="295285"/>
                </a:cubicBezTo>
                <a:cubicBezTo>
                  <a:pt x="644056" y="324844"/>
                  <a:pt x="612602" y="329637"/>
                  <a:pt x="590460" y="329637"/>
                </a:cubicBezTo>
                <a:cubicBezTo>
                  <a:pt x="557240" y="329637"/>
                  <a:pt x="545826" y="317717"/>
                  <a:pt x="545826" y="298907"/>
                </a:cubicBezTo>
                <a:cubicBezTo>
                  <a:pt x="545826" y="284348"/>
                  <a:pt x="558081" y="259218"/>
                  <a:pt x="559697" y="255515"/>
                </a:cubicBezTo>
                <a:cubicBezTo>
                  <a:pt x="574653" y="221273"/>
                  <a:pt x="601426" y="217553"/>
                  <a:pt x="627849" y="217553"/>
                </a:cubicBezTo>
                <a:close/>
                <a:moveTo>
                  <a:pt x="930623" y="183200"/>
                </a:moveTo>
                <a:cubicBezTo>
                  <a:pt x="918980" y="183200"/>
                  <a:pt x="901671" y="185010"/>
                  <a:pt x="893824" y="195852"/>
                </a:cubicBezTo>
                <a:cubicBezTo>
                  <a:pt x="864444" y="236497"/>
                  <a:pt x="844974" y="338128"/>
                  <a:pt x="844974" y="366400"/>
                </a:cubicBezTo>
                <a:cubicBezTo>
                  <a:pt x="844974" y="385703"/>
                  <a:pt x="858397" y="384471"/>
                  <a:pt x="876335" y="384471"/>
                </a:cubicBezTo>
                <a:cubicBezTo>
                  <a:pt x="886771" y="384471"/>
                  <a:pt x="903617" y="384734"/>
                  <a:pt x="913126" y="374837"/>
                </a:cubicBezTo>
                <a:cubicBezTo>
                  <a:pt x="938939" y="347972"/>
                  <a:pt x="961211" y="226230"/>
                  <a:pt x="961211" y="204250"/>
                </a:cubicBezTo>
                <a:cubicBezTo>
                  <a:pt x="961211" y="188620"/>
                  <a:pt x="960084" y="183200"/>
                  <a:pt x="930623" y="183200"/>
                </a:cubicBezTo>
                <a:close/>
                <a:moveTo>
                  <a:pt x="369115" y="122329"/>
                </a:moveTo>
                <a:cubicBezTo>
                  <a:pt x="313588" y="122329"/>
                  <a:pt x="216049" y="207175"/>
                  <a:pt x="206267" y="216943"/>
                </a:cubicBezTo>
                <a:cubicBezTo>
                  <a:pt x="199029" y="224181"/>
                  <a:pt x="204443" y="223571"/>
                  <a:pt x="214108" y="223571"/>
                </a:cubicBezTo>
                <a:lnTo>
                  <a:pt x="338955" y="223571"/>
                </a:lnTo>
                <a:cubicBezTo>
                  <a:pt x="383189" y="223571"/>
                  <a:pt x="387201" y="216137"/>
                  <a:pt x="387201" y="175364"/>
                </a:cubicBezTo>
                <a:cubicBezTo>
                  <a:pt x="387201" y="153565"/>
                  <a:pt x="386173" y="122329"/>
                  <a:pt x="369115" y="122329"/>
                </a:cubicBezTo>
                <a:close/>
                <a:moveTo>
                  <a:pt x="1562084" y="103048"/>
                </a:moveTo>
                <a:cubicBezTo>
                  <a:pt x="1631012" y="103048"/>
                  <a:pt x="1646555" y="145544"/>
                  <a:pt x="1646555" y="178388"/>
                </a:cubicBezTo>
                <a:cubicBezTo>
                  <a:pt x="1646555" y="233519"/>
                  <a:pt x="1580916" y="422278"/>
                  <a:pt x="1570147" y="450606"/>
                </a:cubicBezTo>
                <a:cubicBezTo>
                  <a:pt x="1563067" y="469221"/>
                  <a:pt x="1549505" y="471854"/>
                  <a:pt x="1531932" y="471854"/>
                </a:cubicBezTo>
                <a:cubicBezTo>
                  <a:pt x="1500131" y="471854"/>
                  <a:pt x="1476147" y="464292"/>
                  <a:pt x="1464454" y="454936"/>
                </a:cubicBezTo>
                <a:cubicBezTo>
                  <a:pt x="1462029" y="453011"/>
                  <a:pt x="1459033" y="448879"/>
                  <a:pt x="1461067" y="442824"/>
                </a:cubicBezTo>
                <a:cubicBezTo>
                  <a:pt x="1473021" y="407224"/>
                  <a:pt x="1518397" y="279032"/>
                  <a:pt x="1518397" y="251337"/>
                </a:cubicBezTo>
                <a:cubicBezTo>
                  <a:pt x="1518397" y="236177"/>
                  <a:pt x="1513909" y="224779"/>
                  <a:pt x="1498758" y="224779"/>
                </a:cubicBezTo>
                <a:cubicBezTo>
                  <a:pt x="1406918" y="224779"/>
                  <a:pt x="1238182" y="420584"/>
                  <a:pt x="1206849" y="455586"/>
                </a:cubicBezTo>
                <a:cubicBezTo>
                  <a:pt x="1196597" y="467026"/>
                  <a:pt x="1181575" y="469441"/>
                  <a:pt x="1164028" y="469441"/>
                </a:cubicBezTo>
                <a:cubicBezTo>
                  <a:pt x="1142309" y="469441"/>
                  <a:pt x="1119179" y="457926"/>
                  <a:pt x="1116977" y="456788"/>
                </a:cubicBezTo>
                <a:cubicBezTo>
                  <a:pt x="1110110" y="453242"/>
                  <a:pt x="1109786" y="449324"/>
                  <a:pt x="1111817" y="441053"/>
                </a:cubicBezTo>
                <a:lnTo>
                  <a:pt x="1117585" y="417617"/>
                </a:lnTo>
                <a:cubicBezTo>
                  <a:pt x="1128141" y="374744"/>
                  <a:pt x="1182812" y="216125"/>
                  <a:pt x="1220713" y="130164"/>
                </a:cubicBezTo>
                <a:cubicBezTo>
                  <a:pt x="1222324" y="126530"/>
                  <a:pt x="1223897" y="123513"/>
                  <a:pt x="1232127" y="122230"/>
                </a:cubicBezTo>
                <a:cubicBezTo>
                  <a:pt x="1235950" y="121632"/>
                  <a:pt x="1248492" y="118713"/>
                  <a:pt x="1265958" y="118713"/>
                </a:cubicBezTo>
                <a:cubicBezTo>
                  <a:pt x="1278765" y="118713"/>
                  <a:pt x="1303656" y="119624"/>
                  <a:pt x="1316135" y="126310"/>
                </a:cubicBezTo>
                <a:cubicBezTo>
                  <a:pt x="1316135" y="126310"/>
                  <a:pt x="1316238" y="126124"/>
                  <a:pt x="1316238" y="147047"/>
                </a:cubicBezTo>
                <a:cubicBezTo>
                  <a:pt x="1316238" y="156084"/>
                  <a:pt x="1317226" y="186810"/>
                  <a:pt x="1346170" y="186810"/>
                </a:cubicBezTo>
                <a:cubicBezTo>
                  <a:pt x="1395015" y="186810"/>
                  <a:pt x="1483685" y="103048"/>
                  <a:pt x="1562084" y="103048"/>
                </a:cubicBezTo>
                <a:close/>
                <a:moveTo>
                  <a:pt x="969818" y="91597"/>
                </a:moveTo>
                <a:cubicBezTo>
                  <a:pt x="1039012" y="91597"/>
                  <a:pt x="1124818" y="102450"/>
                  <a:pt x="1124818" y="177773"/>
                </a:cubicBezTo>
                <a:cubicBezTo>
                  <a:pt x="1124818" y="224169"/>
                  <a:pt x="1078970" y="326038"/>
                  <a:pt x="1064240" y="354338"/>
                </a:cubicBezTo>
                <a:cubicBezTo>
                  <a:pt x="1002651" y="472656"/>
                  <a:pt x="920369" y="471854"/>
                  <a:pt x="827478" y="471854"/>
                </a:cubicBezTo>
                <a:cubicBezTo>
                  <a:pt x="782088" y="471854"/>
                  <a:pt x="680924" y="472378"/>
                  <a:pt x="680924" y="387484"/>
                </a:cubicBezTo>
                <a:cubicBezTo>
                  <a:pt x="680924" y="349515"/>
                  <a:pt x="714040" y="279922"/>
                  <a:pt x="741236" y="213937"/>
                </a:cubicBezTo>
                <a:cubicBezTo>
                  <a:pt x="752800" y="185875"/>
                  <a:pt x="802070" y="91597"/>
                  <a:pt x="969818" y="91597"/>
                </a:cubicBezTo>
                <a:close/>
                <a:moveTo>
                  <a:pt x="422792" y="0"/>
                </a:moveTo>
                <a:cubicBezTo>
                  <a:pt x="508765" y="0"/>
                  <a:pt x="520494" y="136815"/>
                  <a:pt x="520494" y="186810"/>
                </a:cubicBezTo>
                <a:cubicBezTo>
                  <a:pt x="520494" y="293623"/>
                  <a:pt x="454733" y="315777"/>
                  <a:pt x="381775" y="315777"/>
                </a:cubicBezTo>
                <a:lnTo>
                  <a:pt x="330514" y="315777"/>
                </a:lnTo>
                <a:cubicBezTo>
                  <a:pt x="279281" y="315777"/>
                  <a:pt x="176108" y="312760"/>
                  <a:pt x="176108" y="312760"/>
                </a:cubicBezTo>
                <a:cubicBezTo>
                  <a:pt x="167831" y="312598"/>
                  <a:pt x="161639" y="310954"/>
                  <a:pt x="161639" y="315777"/>
                </a:cubicBezTo>
                <a:cubicBezTo>
                  <a:pt x="161639" y="350607"/>
                  <a:pt x="201074" y="403160"/>
                  <a:pt x="261154" y="403160"/>
                </a:cubicBezTo>
                <a:cubicBezTo>
                  <a:pt x="308466" y="403160"/>
                  <a:pt x="338955" y="373631"/>
                  <a:pt x="345589" y="366638"/>
                </a:cubicBezTo>
                <a:cubicBezTo>
                  <a:pt x="345589" y="366638"/>
                  <a:pt x="399951" y="360368"/>
                  <a:pt x="434850" y="360368"/>
                </a:cubicBezTo>
                <a:cubicBezTo>
                  <a:pt x="468739" y="360368"/>
                  <a:pt x="518688" y="365790"/>
                  <a:pt x="518688" y="385076"/>
                </a:cubicBezTo>
                <a:cubicBezTo>
                  <a:pt x="518688" y="422696"/>
                  <a:pt x="396356" y="482100"/>
                  <a:pt x="293723" y="482100"/>
                </a:cubicBezTo>
                <a:cubicBezTo>
                  <a:pt x="139194" y="482100"/>
                  <a:pt x="0" y="398223"/>
                  <a:pt x="0" y="297096"/>
                </a:cubicBezTo>
                <a:cubicBezTo>
                  <a:pt x="0" y="127639"/>
                  <a:pt x="327325" y="0"/>
                  <a:pt x="42279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en-GB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87819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5E4262CA-21A9-4E4D-8E7E-5DF8639F2343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79425" y="1448780"/>
            <a:ext cx="11233150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5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Closing statement</a:t>
            </a:r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13AF2A0-AD88-99EF-FA3A-64FCB442FF6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272722" y="5863136"/>
            <a:ext cx="1646555" cy="482100"/>
          </a:xfrm>
          <a:custGeom>
            <a:avLst/>
            <a:gdLst>
              <a:gd name="connsiteX0" fmla="*/ 627849 w 1646555"/>
              <a:gd name="connsiteY0" fmla="*/ 217553 h 482100"/>
              <a:gd name="connsiteX1" fmla="*/ 671280 w 1646555"/>
              <a:gd name="connsiteY1" fmla="*/ 247681 h 482100"/>
              <a:gd name="connsiteX2" fmla="*/ 656051 w 1646555"/>
              <a:gd name="connsiteY2" fmla="*/ 295285 h 482100"/>
              <a:gd name="connsiteX3" fmla="*/ 590460 w 1646555"/>
              <a:gd name="connsiteY3" fmla="*/ 329637 h 482100"/>
              <a:gd name="connsiteX4" fmla="*/ 545826 w 1646555"/>
              <a:gd name="connsiteY4" fmla="*/ 298907 h 482100"/>
              <a:gd name="connsiteX5" fmla="*/ 559697 w 1646555"/>
              <a:gd name="connsiteY5" fmla="*/ 255515 h 482100"/>
              <a:gd name="connsiteX6" fmla="*/ 627849 w 1646555"/>
              <a:gd name="connsiteY6" fmla="*/ 217553 h 482100"/>
              <a:gd name="connsiteX7" fmla="*/ 930623 w 1646555"/>
              <a:gd name="connsiteY7" fmla="*/ 183200 h 482100"/>
              <a:gd name="connsiteX8" fmla="*/ 893824 w 1646555"/>
              <a:gd name="connsiteY8" fmla="*/ 195852 h 482100"/>
              <a:gd name="connsiteX9" fmla="*/ 844974 w 1646555"/>
              <a:gd name="connsiteY9" fmla="*/ 366400 h 482100"/>
              <a:gd name="connsiteX10" fmla="*/ 876335 w 1646555"/>
              <a:gd name="connsiteY10" fmla="*/ 384471 h 482100"/>
              <a:gd name="connsiteX11" fmla="*/ 913126 w 1646555"/>
              <a:gd name="connsiteY11" fmla="*/ 374837 h 482100"/>
              <a:gd name="connsiteX12" fmla="*/ 961211 w 1646555"/>
              <a:gd name="connsiteY12" fmla="*/ 204250 h 482100"/>
              <a:gd name="connsiteX13" fmla="*/ 930623 w 1646555"/>
              <a:gd name="connsiteY13" fmla="*/ 183200 h 482100"/>
              <a:gd name="connsiteX14" fmla="*/ 369115 w 1646555"/>
              <a:gd name="connsiteY14" fmla="*/ 122329 h 482100"/>
              <a:gd name="connsiteX15" fmla="*/ 206267 w 1646555"/>
              <a:gd name="connsiteY15" fmla="*/ 216943 h 482100"/>
              <a:gd name="connsiteX16" fmla="*/ 214108 w 1646555"/>
              <a:gd name="connsiteY16" fmla="*/ 223571 h 482100"/>
              <a:gd name="connsiteX17" fmla="*/ 338955 w 1646555"/>
              <a:gd name="connsiteY17" fmla="*/ 223571 h 482100"/>
              <a:gd name="connsiteX18" fmla="*/ 387201 w 1646555"/>
              <a:gd name="connsiteY18" fmla="*/ 175364 h 482100"/>
              <a:gd name="connsiteX19" fmla="*/ 369115 w 1646555"/>
              <a:gd name="connsiteY19" fmla="*/ 122329 h 482100"/>
              <a:gd name="connsiteX20" fmla="*/ 1562084 w 1646555"/>
              <a:gd name="connsiteY20" fmla="*/ 103048 h 482100"/>
              <a:gd name="connsiteX21" fmla="*/ 1646555 w 1646555"/>
              <a:gd name="connsiteY21" fmla="*/ 178388 h 482100"/>
              <a:gd name="connsiteX22" fmla="*/ 1570147 w 1646555"/>
              <a:gd name="connsiteY22" fmla="*/ 450606 h 482100"/>
              <a:gd name="connsiteX23" fmla="*/ 1531932 w 1646555"/>
              <a:gd name="connsiteY23" fmla="*/ 471854 h 482100"/>
              <a:gd name="connsiteX24" fmla="*/ 1464454 w 1646555"/>
              <a:gd name="connsiteY24" fmla="*/ 454936 h 482100"/>
              <a:gd name="connsiteX25" fmla="*/ 1461067 w 1646555"/>
              <a:gd name="connsiteY25" fmla="*/ 442824 h 482100"/>
              <a:gd name="connsiteX26" fmla="*/ 1518397 w 1646555"/>
              <a:gd name="connsiteY26" fmla="*/ 251337 h 482100"/>
              <a:gd name="connsiteX27" fmla="*/ 1498758 w 1646555"/>
              <a:gd name="connsiteY27" fmla="*/ 224779 h 482100"/>
              <a:gd name="connsiteX28" fmla="*/ 1206849 w 1646555"/>
              <a:gd name="connsiteY28" fmla="*/ 455586 h 482100"/>
              <a:gd name="connsiteX29" fmla="*/ 1164028 w 1646555"/>
              <a:gd name="connsiteY29" fmla="*/ 469441 h 482100"/>
              <a:gd name="connsiteX30" fmla="*/ 1116977 w 1646555"/>
              <a:gd name="connsiteY30" fmla="*/ 456788 h 482100"/>
              <a:gd name="connsiteX31" fmla="*/ 1111817 w 1646555"/>
              <a:gd name="connsiteY31" fmla="*/ 441053 h 482100"/>
              <a:gd name="connsiteX32" fmla="*/ 1117585 w 1646555"/>
              <a:gd name="connsiteY32" fmla="*/ 417617 h 482100"/>
              <a:gd name="connsiteX33" fmla="*/ 1220713 w 1646555"/>
              <a:gd name="connsiteY33" fmla="*/ 130164 h 482100"/>
              <a:gd name="connsiteX34" fmla="*/ 1232127 w 1646555"/>
              <a:gd name="connsiteY34" fmla="*/ 122230 h 482100"/>
              <a:gd name="connsiteX35" fmla="*/ 1265958 w 1646555"/>
              <a:gd name="connsiteY35" fmla="*/ 118713 h 482100"/>
              <a:gd name="connsiteX36" fmla="*/ 1316135 w 1646555"/>
              <a:gd name="connsiteY36" fmla="*/ 126310 h 482100"/>
              <a:gd name="connsiteX37" fmla="*/ 1316238 w 1646555"/>
              <a:gd name="connsiteY37" fmla="*/ 147047 h 482100"/>
              <a:gd name="connsiteX38" fmla="*/ 1346170 w 1646555"/>
              <a:gd name="connsiteY38" fmla="*/ 186810 h 482100"/>
              <a:gd name="connsiteX39" fmla="*/ 1562084 w 1646555"/>
              <a:gd name="connsiteY39" fmla="*/ 103048 h 482100"/>
              <a:gd name="connsiteX40" fmla="*/ 969818 w 1646555"/>
              <a:gd name="connsiteY40" fmla="*/ 91597 h 482100"/>
              <a:gd name="connsiteX41" fmla="*/ 1124818 w 1646555"/>
              <a:gd name="connsiteY41" fmla="*/ 177773 h 482100"/>
              <a:gd name="connsiteX42" fmla="*/ 1064240 w 1646555"/>
              <a:gd name="connsiteY42" fmla="*/ 354338 h 482100"/>
              <a:gd name="connsiteX43" fmla="*/ 827478 w 1646555"/>
              <a:gd name="connsiteY43" fmla="*/ 471854 h 482100"/>
              <a:gd name="connsiteX44" fmla="*/ 680924 w 1646555"/>
              <a:gd name="connsiteY44" fmla="*/ 387484 h 482100"/>
              <a:gd name="connsiteX45" fmla="*/ 741236 w 1646555"/>
              <a:gd name="connsiteY45" fmla="*/ 213937 h 482100"/>
              <a:gd name="connsiteX46" fmla="*/ 969818 w 1646555"/>
              <a:gd name="connsiteY46" fmla="*/ 91597 h 482100"/>
              <a:gd name="connsiteX47" fmla="*/ 422792 w 1646555"/>
              <a:gd name="connsiteY47" fmla="*/ 0 h 482100"/>
              <a:gd name="connsiteX48" fmla="*/ 520494 w 1646555"/>
              <a:gd name="connsiteY48" fmla="*/ 186810 h 482100"/>
              <a:gd name="connsiteX49" fmla="*/ 381775 w 1646555"/>
              <a:gd name="connsiteY49" fmla="*/ 315777 h 482100"/>
              <a:gd name="connsiteX50" fmla="*/ 330514 w 1646555"/>
              <a:gd name="connsiteY50" fmla="*/ 315777 h 482100"/>
              <a:gd name="connsiteX51" fmla="*/ 176108 w 1646555"/>
              <a:gd name="connsiteY51" fmla="*/ 312760 h 482100"/>
              <a:gd name="connsiteX52" fmla="*/ 161639 w 1646555"/>
              <a:gd name="connsiteY52" fmla="*/ 315777 h 482100"/>
              <a:gd name="connsiteX53" fmla="*/ 261154 w 1646555"/>
              <a:gd name="connsiteY53" fmla="*/ 403160 h 482100"/>
              <a:gd name="connsiteX54" fmla="*/ 345589 w 1646555"/>
              <a:gd name="connsiteY54" fmla="*/ 366638 h 482100"/>
              <a:gd name="connsiteX55" fmla="*/ 434850 w 1646555"/>
              <a:gd name="connsiteY55" fmla="*/ 360368 h 482100"/>
              <a:gd name="connsiteX56" fmla="*/ 518688 w 1646555"/>
              <a:gd name="connsiteY56" fmla="*/ 385076 h 482100"/>
              <a:gd name="connsiteX57" fmla="*/ 293723 w 1646555"/>
              <a:gd name="connsiteY57" fmla="*/ 482100 h 482100"/>
              <a:gd name="connsiteX58" fmla="*/ 0 w 1646555"/>
              <a:gd name="connsiteY58" fmla="*/ 297096 h 482100"/>
              <a:gd name="connsiteX59" fmla="*/ 422792 w 1646555"/>
              <a:gd name="connsiteY59" fmla="*/ 0 h 48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646555" h="482100">
                <a:moveTo>
                  <a:pt x="627849" y="217553"/>
                </a:moveTo>
                <a:cubicBezTo>
                  <a:pt x="650255" y="217553"/>
                  <a:pt x="671280" y="226862"/>
                  <a:pt x="671280" y="247681"/>
                </a:cubicBezTo>
                <a:cubicBezTo>
                  <a:pt x="671280" y="259127"/>
                  <a:pt x="657938" y="290629"/>
                  <a:pt x="656051" y="295285"/>
                </a:cubicBezTo>
                <a:cubicBezTo>
                  <a:pt x="644056" y="324844"/>
                  <a:pt x="612602" y="329637"/>
                  <a:pt x="590460" y="329637"/>
                </a:cubicBezTo>
                <a:cubicBezTo>
                  <a:pt x="557240" y="329637"/>
                  <a:pt x="545826" y="317717"/>
                  <a:pt x="545826" y="298907"/>
                </a:cubicBezTo>
                <a:cubicBezTo>
                  <a:pt x="545826" y="284348"/>
                  <a:pt x="558081" y="259218"/>
                  <a:pt x="559697" y="255515"/>
                </a:cubicBezTo>
                <a:cubicBezTo>
                  <a:pt x="574653" y="221273"/>
                  <a:pt x="601426" y="217553"/>
                  <a:pt x="627849" y="217553"/>
                </a:cubicBezTo>
                <a:close/>
                <a:moveTo>
                  <a:pt x="930623" y="183200"/>
                </a:moveTo>
                <a:cubicBezTo>
                  <a:pt x="918980" y="183200"/>
                  <a:pt x="901671" y="185010"/>
                  <a:pt x="893824" y="195852"/>
                </a:cubicBezTo>
                <a:cubicBezTo>
                  <a:pt x="864444" y="236497"/>
                  <a:pt x="844974" y="338128"/>
                  <a:pt x="844974" y="366400"/>
                </a:cubicBezTo>
                <a:cubicBezTo>
                  <a:pt x="844974" y="385703"/>
                  <a:pt x="858397" y="384471"/>
                  <a:pt x="876335" y="384471"/>
                </a:cubicBezTo>
                <a:cubicBezTo>
                  <a:pt x="886771" y="384471"/>
                  <a:pt x="903617" y="384734"/>
                  <a:pt x="913126" y="374837"/>
                </a:cubicBezTo>
                <a:cubicBezTo>
                  <a:pt x="938939" y="347972"/>
                  <a:pt x="961211" y="226230"/>
                  <a:pt x="961211" y="204250"/>
                </a:cubicBezTo>
                <a:cubicBezTo>
                  <a:pt x="961211" y="188620"/>
                  <a:pt x="960084" y="183200"/>
                  <a:pt x="930623" y="183200"/>
                </a:cubicBezTo>
                <a:close/>
                <a:moveTo>
                  <a:pt x="369115" y="122329"/>
                </a:moveTo>
                <a:cubicBezTo>
                  <a:pt x="313588" y="122329"/>
                  <a:pt x="216049" y="207175"/>
                  <a:pt x="206267" y="216943"/>
                </a:cubicBezTo>
                <a:cubicBezTo>
                  <a:pt x="199029" y="224181"/>
                  <a:pt x="204443" y="223571"/>
                  <a:pt x="214108" y="223571"/>
                </a:cubicBezTo>
                <a:lnTo>
                  <a:pt x="338955" y="223571"/>
                </a:lnTo>
                <a:cubicBezTo>
                  <a:pt x="383189" y="223571"/>
                  <a:pt x="387201" y="216137"/>
                  <a:pt x="387201" y="175364"/>
                </a:cubicBezTo>
                <a:cubicBezTo>
                  <a:pt x="387201" y="153565"/>
                  <a:pt x="386173" y="122329"/>
                  <a:pt x="369115" y="122329"/>
                </a:cubicBezTo>
                <a:close/>
                <a:moveTo>
                  <a:pt x="1562084" y="103048"/>
                </a:moveTo>
                <a:cubicBezTo>
                  <a:pt x="1631012" y="103048"/>
                  <a:pt x="1646555" y="145544"/>
                  <a:pt x="1646555" y="178388"/>
                </a:cubicBezTo>
                <a:cubicBezTo>
                  <a:pt x="1646555" y="233519"/>
                  <a:pt x="1580916" y="422278"/>
                  <a:pt x="1570147" y="450606"/>
                </a:cubicBezTo>
                <a:cubicBezTo>
                  <a:pt x="1563067" y="469221"/>
                  <a:pt x="1549505" y="471854"/>
                  <a:pt x="1531932" y="471854"/>
                </a:cubicBezTo>
                <a:cubicBezTo>
                  <a:pt x="1500131" y="471854"/>
                  <a:pt x="1476147" y="464292"/>
                  <a:pt x="1464454" y="454936"/>
                </a:cubicBezTo>
                <a:cubicBezTo>
                  <a:pt x="1462029" y="453011"/>
                  <a:pt x="1459033" y="448879"/>
                  <a:pt x="1461067" y="442824"/>
                </a:cubicBezTo>
                <a:cubicBezTo>
                  <a:pt x="1473021" y="407224"/>
                  <a:pt x="1518397" y="279032"/>
                  <a:pt x="1518397" y="251337"/>
                </a:cubicBezTo>
                <a:cubicBezTo>
                  <a:pt x="1518397" y="236177"/>
                  <a:pt x="1513909" y="224779"/>
                  <a:pt x="1498758" y="224779"/>
                </a:cubicBezTo>
                <a:cubicBezTo>
                  <a:pt x="1406918" y="224779"/>
                  <a:pt x="1238182" y="420584"/>
                  <a:pt x="1206849" y="455586"/>
                </a:cubicBezTo>
                <a:cubicBezTo>
                  <a:pt x="1196597" y="467026"/>
                  <a:pt x="1181575" y="469441"/>
                  <a:pt x="1164028" y="469441"/>
                </a:cubicBezTo>
                <a:cubicBezTo>
                  <a:pt x="1142309" y="469441"/>
                  <a:pt x="1119179" y="457926"/>
                  <a:pt x="1116977" y="456788"/>
                </a:cubicBezTo>
                <a:cubicBezTo>
                  <a:pt x="1110110" y="453242"/>
                  <a:pt x="1109786" y="449324"/>
                  <a:pt x="1111817" y="441053"/>
                </a:cubicBezTo>
                <a:lnTo>
                  <a:pt x="1117585" y="417617"/>
                </a:lnTo>
                <a:cubicBezTo>
                  <a:pt x="1128141" y="374744"/>
                  <a:pt x="1182812" y="216125"/>
                  <a:pt x="1220713" y="130164"/>
                </a:cubicBezTo>
                <a:cubicBezTo>
                  <a:pt x="1222324" y="126530"/>
                  <a:pt x="1223897" y="123513"/>
                  <a:pt x="1232127" y="122230"/>
                </a:cubicBezTo>
                <a:cubicBezTo>
                  <a:pt x="1235950" y="121632"/>
                  <a:pt x="1248492" y="118713"/>
                  <a:pt x="1265958" y="118713"/>
                </a:cubicBezTo>
                <a:cubicBezTo>
                  <a:pt x="1278765" y="118713"/>
                  <a:pt x="1303656" y="119624"/>
                  <a:pt x="1316135" y="126310"/>
                </a:cubicBezTo>
                <a:cubicBezTo>
                  <a:pt x="1316135" y="126310"/>
                  <a:pt x="1316238" y="126124"/>
                  <a:pt x="1316238" y="147047"/>
                </a:cubicBezTo>
                <a:cubicBezTo>
                  <a:pt x="1316238" y="156084"/>
                  <a:pt x="1317226" y="186810"/>
                  <a:pt x="1346170" y="186810"/>
                </a:cubicBezTo>
                <a:cubicBezTo>
                  <a:pt x="1395015" y="186810"/>
                  <a:pt x="1483685" y="103048"/>
                  <a:pt x="1562084" y="103048"/>
                </a:cubicBezTo>
                <a:close/>
                <a:moveTo>
                  <a:pt x="969818" y="91597"/>
                </a:moveTo>
                <a:cubicBezTo>
                  <a:pt x="1039012" y="91597"/>
                  <a:pt x="1124818" y="102450"/>
                  <a:pt x="1124818" y="177773"/>
                </a:cubicBezTo>
                <a:cubicBezTo>
                  <a:pt x="1124818" y="224169"/>
                  <a:pt x="1078970" y="326038"/>
                  <a:pt x="1064240" y="354338"/>
                </a:cubicBezTo>
                <a:cubicBezTo>
                  <a:pt x="1002651" y="472656"/>
                  <a:pt x="920369" y="471854"/>
                  <a:pt x="827478" y="471854"/>
                </a:cubicBezTo>
                <a:cubicBezTo>
                  <a:pt x="782088" y="471854"/>
                  <a:pt x="680924" y="472378"/>
                  <a:pt x="680924" y="387484"/>
                </a:cubicBezTo>
                <a:cubicBezTo>
                  <a:pt x="680924" y="349515"/>
                  <a:pt x="714040" y="279922"/>
                  <a:pt x="741236" y="213937"/>
                </a:cubicBezTo>
                <a:cubicBezTo>
                  <a:pt x="752800" y="185875"/>
                  <a:pt x="802070" y="91597"/>
                  <a:pt x="969818" y="91597"/>
                </a:cubicBezTo>
                <a:close/>
                <a:moveTo>
                  <a:pt x="422792" y="0"/>
                </a:moveTo>
                <a:cubicBezTo>
                  <a:pt x="508765" y="0"/>
                  <a:pt x="520494" y="136815"/>
                  <a:pt x="520494" y="186810"/>
                </a:cubicBezTo>
                <a:cubicBezTo>
                  <a:pt x="520494" y="293623"/>
                  <a:pt x="454733" y="315777"/>
                  <a:pt x="381775" y="315777"/>
                </a:cubicBezTo>
                <a:lnTo>
                  <a:pt x="330514" y="315777"/>
                </a:lnTo>
                <a:cubicBezTo>
                  <a:pt x="279281" y="315777"/>
                  <a:pt x="176108" y="312760"/>
                  <a:pt x="176108" y="312760"/>
                </a:cubicBezTo>
                <a:cubicBezTo>
                  <a:pt x="167831" y="312598"/>
                  <a:pt x="161639" y="310954"/>
                  <a:pt x="161639" y="315777"/>
                </a:cubicBezTo>
                <a:cubicBezTo>
                  <a:pt x="161639" y="350607"/>
                  <a:pt x="201074" y="403160"/>
                  <a:pt x="261154" y="403160"/>
                </a:cubicBezTo>
                <a:cubicBezTo>
                  <a:pt x="308466" y="403160"/>
                  <a:pt x="338955" y="373631"/>
                  <a:pt x="345589" y="366638"/>
                </a:cubicBezTo>
                <a:cubicBezTo>
                  <a:pt x="345589" y="366638"/>
                  <a:pt x="399951" y="360368"/>
                  <a:pt x="434850" y="360368"/>
                </a:cubicBezTo>
                <a:cubicBezTo>
                  <a:pt x="468739" y="360368"/>
                  <a:pt x="518688" y="365790"/>
                  <a:pt x="518688" y="385076"/>
                </a:cubicBezTo>
                <a:cubicBezTo>
                  <a:pt x="518688" y="422696"/>
                  <a:pt x="396356" y="482100"/>
                  <a:pt x="293723" y="482100"/>
                </a:cubicBezTo>
                <a:cubicBezTo>
                  <a:pt x="139194" y="482100"/>
                  <a:pt x="0" y="398223"/>
                  <a:pt x="0" y="297096"/>
                </a:cubicBezTo>
                <a:cubicBezTo>
                  <a:pt x="0" y="127639"/>
                  <a:pt x="327325" y="0"/>
                  <a:pt x="42279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en-GB" noProof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15237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C25F2DB8-05D3-784A-98E0-7A06DBBA287E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7620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3528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Edit contact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3528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40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/>
              <a:t>Edit closing statement</a:t>
            </a:r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Grafik 11">
            <a:extLst>
              <a:ext uri="{FF2B5EF4-FFF2-40B4-BE49-F238E27FC236}">
                <a16:creationId xmlns:a16="http://schemas.microsoft.com/office/drawing/2014/main" id="{2ECF4FC3-EEC3-D10C-FFF1-1F6C8CD146E4}"/>
              </a:ext>
            </a:extLst>
          </p:cNvPr>
          <p:cNvSpPr>
            <a:spLocks noChangeAspect="1"/>
          </p:cNvSpPr>
          <p:nvPr userDrawn="1"/>
        </p:nvSpPr>
        <p:spPr>
          <a:xfrm>
            <a:off x="479425" y="5863136"/>
            <a:ext cx="1646555" cy="482100"/>
          </a:xfrm>
          <a:custGeom>
            <a:avLst/>
            <a:gdLst>
              <a:gd name="connsiteX0" fmla="*/ 12192000 w 12192000"/>
              <a:gd name="connsiteY0" fmla="*/ 1320881 h 3569732"/>
              <a:gd name="connsiteX1" fmla="*/ 11626234 w 12192000"/>
              <a:gd name="connsiteY1" fmla="*/ 3336532 h 3569732"/>
              <a:gd name="connsiteX2" fmla="*/ 11343268 w 12192000"/>
              <a:gd name="connsiteY2" fmla="*/ 3493865 h 3569732"/>
              <a:gd name="connsiteX3" fmla="*/ 10843621 w 12192000"/>
              <a:gd name="connsiteY3" fmla="*/ 3368594 h 3569732"/>
              <a:gd name="connsiteX4" fmla="*/ 10818543 w 12192000"/>
              <a:gd name="connsiteY4" fmla="*/ 3278906 h 3569732"/>
              <a:gd name="connsiteX5" fmla="*/ 11243050 w 12192000"/>
              <a:gd name="connsiteY5" fmla="*/ 1861035 h 3569732"/>
              <a:gd name="connsiteX6" fmla="*/ 11097628 w 12192000"/>
              <a:gd name="connsiteY6" fmla="*/ 1664382 h 3569732"/>
              <a:gd name="connsiteX7" fmla="*/ 8936174 w 12192000"/>
              <a:gd name="connsiteY7" fmla="*/ 3373408 h 3569732"/>
              <a:gd name="connsiteX8" fmla="*/ 8619106 w 12192000"/>
              <a:gd name="connsiteY8" fmla="*/ 3475999 h 3569732"/>
              <a:gd name="connsiteX9" fmla="*/ 8270715 w 12192000"/>
              <a:gd name="connsiteY9" fmla="*/ 3382303 h 3569732"/>
              <a:gd name="connsiteX10" fmla="*/ 8232508 w 12192000"/>
              <a:gd name="connsiteY10" fmla="*/ 3265797 h 3569732"/>
              <a:gd name="connsiteX11" fmla="*/ 8275217 w 12192000"/>
              <a:gd name="connsiteY11" fmla="*/ 3092264 h 3569732"/>
              <a:gd name="connsiteX12" fmla="*/ 9038830 w 12192000"/>
              <a:gd name="connsiteY12" fmla="*/ 963802 h 3569732"/>
              <a:gd name="connsiteX13" fmla="*/ 9123348 w 12192000"/>
              <a:gd name="connsiteY13" fmla="*/ 905056 h 3569732"/>
              <a:gd name="connsiteX14" fmla="*/ 9373847 w 12192000"/>
              <a:gd name="connsiteY14" fmla="*/ 879013 h 3569732"/>
              <a:gd name="connsiteX15" fmla="*/ 9745385 w 12192000"/>
              <a:gd name="connsiteY15" fmla="*/ 935266 h 3569732"/>
              <a:gd name="connsiteX16" fmla="*/ 9746154 w 12192000"/>
              <a:gd name="connsiteY16" fmla="*/ 1088816 h 3569732"/>
              <a:gd name="connsiteX17" fmla="*/ 9967785 w 12192000"/>
              <a:gd name="connsiteY17" fmla="*/ 1383238 h 3569732"/>
              <a:gd name="connsiteX18" fmla="*/ 11566531 w 12192000"/>
              <a:gd name="connsiteY18" fmla="*/ 763023 h 3569732"/>
              <a:gd name="connsiteX19" fmla="*/ 12192000 w 12192000"/>
              <a:gd name="connsiteY19" fmla="*/ 1320882 h 3569732"/>
              <a:gd name="connsiteX20" fmla="*/ 4970529 w 12192000"/>
              <a:gd name="connsiteY20" fmla="*/ 1833961 h 3569732"/>
              <a:gd name="connsiteX21" fmla="*/ 4857762 w 12192000"/>
              <a:gd name="connsiteY21" fmla="*/ 2186449 h 3569732"/>
              <a:gd name="connsiteX22" fmla="*/ 4372089 w 12192000"/>
              <a:gd name="connsiteY22" fmla="*/ 2440812 h 3569732"/>
              <a:gd name="connsiteX23" fmla="*/ 4041592 w 12192000"/>
              <a:gd name="connsiteY23" fmla="*/ 2213268 h 3569732"/>
              <a:gd name="connsiteX24" fmla="*/ 4144305 w 12192000"/>
              <a:gd name="connsiteY24" fmla="*/ 1891971 h 3569732"/>
              <a:gd name="connsiteX25" fmla="*/ 4648941 w 12192000"/>
              <a:gd name="connsiteY25" fmla="*/ 1610878 h 3569732"/>
              <a:gd name="connsiteX26" fmla="*/ 4970529 w 12192000"/>
              <a:gd name="connsiteY26" fmla="*/ 1833961 h 3569732"/>
              <a:gd name="connsiteX27" fmla="*/ 2867052 w 12192000"/>
              <a:gd name="connsiteY27" fmla="*/ 1298492 h 3569732"/>
              <a:gd name="connsiteX28" fmla="*/ 2733128 w 12192000"/>
              <a:gd name="connsiteY28" fmla="*/ 905786 h 3569732"/>
              <a:gd name="connsiteX29" fmla="*/ 1527312 w 12192000"/>
              <a:gd name="connsiteY29" fmla="*/ 1606364 h 3569732"/>
              <a:gd name="connsiteX30" fmla="*/ 1585376 w 12192000"/>
              <a:gd name="connsiteY30" fmla="*/ 1655443 h 3569732"/>
              <a:gd name="connsiteX31" fmla="*/ 2509808 w 12192000"/>
              <a:gd name="connsiteY31" fmla="*/ 1655443 h 3569732"/>
              <a:gd name="connsiteX32" fmla="*/ 2867052 w 12192000"/>
              <a:gd name="connsiteY32" fmla="*/ 1298492 h 3569732"/>
              <a:gd name="connsiteX33" fmla="*/ 3854023 w 12192000"/>
              <a:gd name="connsiteY33" fmla="*/ 1383238 h 3569732"/>
              <a:gd name="connsiteX34" fmla="*/ 2826875 w 12192000"/>
              <a:gd name="connsiteY34" fmla="*/ 2338183 h 3569732"/>
              <a:gd name="connsiteX35" fmla="*/ 2447310 w 12192000"/>
              <a:gd name="connsiteY35" fmla="*/ 2338183 h 3569732"/>
              <a:gd name="connsiteX36" fmla="*/ 1304000 w 12192000"/>
              <a:gd name="connsiteY36" fmla="*/ 2315841 h 3569732"/>
              <a:gd name="connsiteX37" fmla="*/ 1196861 w 12192000"/>
              <a:gd name="connsiteY37" fmla="*/ 2338183 h 3569732"/>
              <a:gd name="connsiteX38" fmla="*/ 1933726 w 12192000"/>
              <a:gd name="connsiteY38" fmla="*/ 2985215 h 3569732"/>
              <a:gd name="connsiteX39" fmla="*/ 2558932 w 12192000"/>
              <a:gd name="connsiteY39" fmla="*/ 2714783 h 3569732"/>
              <a:gd name="connsiteX40" fmla="*/ 3219870 w 12192000"/>
              <a:gd name="connsiteY40" fmla="*/ 2668357 h 3569732"/>
              <a:gd name="connsiteX41" fmla="*/ 3840649 w 12192000"/>
              <a:gd name="connsiteY41" fmla="*/ 2851310 h 3569732"/>
              <a:gd name="connsiteX42" fmla="*/ 2174884 w 12192000"/>
              <a:gd name="connsiteY42" fmla="*/ 3569733 h 3569732"/>
              <a:gd name="connsiteX43" fmla="*/ 0 w 12192000"/>
              <a:gd name="connsiteY43" fmla="*/ 2199858 h 3569732"/>
              <a:gd name="connsiteX44" fmla="*/ 3130587 w 12192000"/>
              <a:gd name="connsiteY44" fmla="*/ 0 h 3569732"/>
              <a:gd name="connsiteX45" fmla="*/ 3854023 w 12192000"/>
              <a:gd name="connsiteY45" fmla="*/ 1383238 h 3569732"/>
              <a:gd name="connsiteX46" fmla="*/ 6890844 w 12192000"/>
              <a:gd name="connsiteY46" fmla="*/ 1356508 h 3569732"/>
              <a:gd name="connsiteX47" fmla="*/ 6618362 w 12192000"/>
              <a:gd name="connsiteY47" fmla="*/ 1450194 h 3569732"/>
              <a:gd name="connsiteX48" fmla="*/ 6256653 w 12192000"/>
              <a:gd name="connsiteY48" fmla="*/ 2713023 h 3569732"/>
              <a:gd name="connsiteX49" fmla="*/ 6488864 w 12192000"/>
              <a:gd name="connsiteY49" fmla="*/ 2846834 h 3569732"/>
              <a:gd name="connsiteX50" fmla="*/ 6761289 w 12192000"/>
              <a:gd name="connsiteY50" fmla="*/ 2775499 h 3569732"/>
              <a:gd name="connsiteX51" fmla="*/ 7117333 w 12192000"/>
              <a:gd name="connsiteY51" fmla="*/ 1512379 h 3569732"/>
              <a:gd name="connsiteX52" fmla="*/ 6890844 w 12192000"/>
              <a:gd name="connsiteY52" fmla="*/ 1356508 h 3569732"/>
              <a:gd name="connsiteX53" fmla="*/ 8328768 w 12192000"/>
              <a:gd name="connsiteY53" fmla="*/ 1316327 h 3569732"/>
              <a:gd name="connsiteX54" fmla="*/ 7880215 w 12192000"/>
              <a:gd name="connsiteY54" fmla="*/ 2623709 h 3569732"/>
              <a:gd name="connsiteX55" fmla="*/ 6127099 w 12192000"/>
              <a:gd name="connsiteY55" fmla="*/ 3493865 h 3569732"/>
              <a:gd name="connsiteX56" fmla="*/ 5041936 w 12192000"/>
              <a:gd name="connsiteY56" fmla="*/ 2869139 h 3569732"/>
              <a:gd name="connsiteX57" fmla="*/ 5488520 w 12192000"/>
              <a:gd name="connsiteY57" fmla="*/ 1584104 h 3569732"/>
              <a:gd name="connsiteX58" fmla="*/ 7181069 w 12192000"/>
              <a:gd name="connsiteY58" fmla="*/ 678232 h 3569732"/>
              <a:gd name="connsiteX59" fmla="*/ 8328768 w 12192000"/>
              <a:gd name="connsiteY59" fmla="*/ 1316327 h 356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2192000" h="3569732">
                <a:moveTo>
                  <a:pt x="12192000" y="1320881"/>
                </a:moveTo>
                <a:cubicBezTo>
                  <a:pt x="12192000" y="1729102"/>
                  <a:pt x="11705971" y="3126779"/>
                  <a:pt x="11626234" y="3336532"/>
                </a:cubicBezTo>
                <a:cubicBezTo>
                  <a:pt x="11573809" y="3474370"/>
                  <a:pt x="11473385" y="3493865"/>
                  <a:pt x="11343268" y="3493865"/>
                </a:cubicBezTo>
                <a:cubicBezTo>
                  <a:pt x="11107794" y="3493865"/>
                  <a:pt x="10930203" y="3437869"/>
                  <a:pt x="10843621" y="3368594"/>
                </a:cubicBezTo>
                <a:cubicBezTo>
                  <a:pt x="10825671" y="3354342"/>
                  <a:pt x="10803482" y="3323741"/>
                  <a:pt x="10818543" y="3278906"/>
                </a:cubicBezTo>
                <a:cubicBezTo>
                  <a:pt x="10907057" y="3015310"/>
                  <a:pt x="11243050" y="2066104"/>
                  <a:pt x="11243050" y="1861035"/>
                </a:cubicBezTo>
                <a:cubicBezTo>
                  <a:pt x="11243050" y="1748785"/>
                  <a:pt x="11209812" y="1664382"/>
                  <a:pt x="11097628" y="1664382"/>
                </a:cubicBezTo>
                <a:cubicBezTo>
                  <a:pt x="10417596" y="1664382"/>
                  <a:pt x="9168178" y="3114232"/>
                  <a:pt x="8936174" y="3373408"/>
                </a:cubicBezTo>
                <a:cubicBezTo>
                  <a:pt x="8860264" y="3458114"/>
                  <a:pt x="8749035" y="3475999"/>
                  <a:pt x="8619106" y="3475999"/>
                </a:cubicBezTo>
                <a:cubicBezTo>
                  <a:pt x="8458284" y="3475999"/>
                  <a:pt x="8287015" y="3390731"/>
                  <a:pt x="8270715" y="3382303"/>
                </a:cubicBezTo>
                <a:cubicBezTo>
                  <a:pt x="8219865" y="3356047"/>
                  <a:pt x="8217464" y="3327037"/>
                  <a:pt x="8232508" y="3265797"/>
                </a:cubicBezTo>
                <a:lnTo>
                  <a:pt x="8275217" y="3092264"/>
                </a:lnTo>
                <a:cubicBezTo>
                  <a:pt x="8353377" y="2774807"/>
                  <a:pt x="8758189" y="1600306"/>
                  <a:pt x="9038830" y="963802"/>
                </a:cubicBezTo>
                <a:cubicBezTo>
                  <a:pt x="9050759" y="936899"/>
                  <a:pt x="9062407" y="914553"/>
                  <a:pt x="9123348" y="905056"/>
                </a:cubicBezTo>
                <a:cubicBezTo>
                  <a:pt x="9151653" y="900629"/>
                  <a:pt x="9244519" y="879013"/>
                  <a:pt x="9373847" y="879013"/>
                </a:cubicBezTo>
                <a:cubicBezTo>
                  <a:pt x="9468682" y="879013"/>
                  <a:pt x="9652988" y="885759"/>
                  <a:pt x="9745385" y="935266"/>
                </a:cubicBezTo>
                <a:cubicBezTo>
                  <a:pt x="9745385" y="935266"/>
                  <a:pt x="9746154" y="933891"/>
                  <a:pt x="9746154" y="1088816"/>
                </a:cubicBezTo>
                <a:cubicBezTo>
                  <a:pt x="9746154" y="1155729"/>
                  <a:pt x="9753468" y="1383238"/>
                  <a:pt x="9967785" y="1383238"/>
                </a:cubicBezTo>
                <a:cubicBezTo>
                  <a:pt x="10329456" y="1383238"/>
                  <a:pt x="10986024" y="763023"/>
                  <a:pt x="11566531" y="763023"/>
                </a:cubicBezTo>
                <a:cubicBezTo>
                  <a:pt x="12076908" y="763023"/>
                  <a:pt x="12192000" y="1077686"/>
                  <a:pt x="12192000" y="1320882"/>
                </a:cubicBezTo>
                <a:moveTo>
                  <a:pt x="4970529" y="1833961"/>
                </a:moveTo>
                <a:cubicBezTo>
                  <a:pt x="4970529" y="1918715"/>
                  <a:pt x="4871736" y="2151971"/>
                  <a:pt x="4857762" y="2186449"/>
                </a:cubicBezTo>
                <a:cubicBezTo>
                  <a:pt x="4768948" y="2405323"/>
                  <a:pt x="4536043" y="2440812"/>
                  <a:pt x="4372089" y="2440812"/>
                </a:cubicBezTo>
                <a:cubicBezTo>
                  <a:pt x="4126110" y="2440812"/>
                  <a:pt x="4041592" y="2352547"/>
                  <a:pt x="4041592" y="2213268"/>
                </a:cubicBezTo>
                <a:cubicBezTo>
                  <a:pt x="4041592" y="2105470"/>
                  <a:pt x="4132338" y="1919389"/>
                  <a:pt x="4144305" y="1891971"/>
                </a:cubicBezTo>
                <a:cubicBezTo>
                  <a:pt x="4255046" y="1638425"/>
                  <a:pt x="4453288" y="1610878"/>
                  <a:pt x="4648941" y="1610878"/>
                </a:cubicBezTo>
                <a:cubicBezTo>
                  <a:pt x="4814846" y="1610878"/>
                  <a:pt x="4970529" y="1679810"/>
                  <a:pt x="4970529" y="1833961"/>
                </a:cubicBezTo>
                <a:moveTo>
                  <a:pt x="2867052" y="1298492"/>
                </a:moveTo>
                <a:cubicBezTo>
                  <a:pt x="2867052" y="1137078"/>
                  <a:pt x="2859437" y="905786"/>
                  <a:pt x="2733128" y="905786"/>
                </a:cubicBezTo>
                <a:cubicBezTo>
                  <a:pt x="2321976" y="905786"/>
                  <a:pt x="1599742" y="1534037"/>
                  <a:pt x="1527312" y="1606364"/>
                </a:cubicBezTo>
                <a:cubicBezTo>
                  <a:pt x="1473720" y="1659955"/>
                  <a:pt x="1513806" y="1655443"/>
                  <a:pt x="1585376" y="1655443"/>
                </a:cubicBezTo>
                <a:lnTo>
                  <a:pt x="2509808" y="1655443"/>
                </a:lnTo>
                <a:cubicBezTo>
                  <a:pt x="2837341" y="1655443"/>
                  <a:pt x="2867052" y="1600392"/>
                  <a:pt x="2867052" y="1298492"/>
                </a:cubicBezTo>
                <a:moveTo>
                  <a:pt x="3854023" y="1383238"/>
                </a:moveTo>
                <a:cubicBezTo>
                  <a:pt x="3854023" y="2174145"/>
                  <a:pt x="3367093" y="2338183"/>
                  <a:pt x="2826875" y="2338183"/>
                </a:cubicBezTo>
                <a:lnTo>
                  <a:pt x="2447310" y="2338183"/>
                </a:lnTo>
                <a:cubicBezTo>
                  <a:pt x="2067951" y="2338183"/>
                  <a:pt x="1304000" y="2315841"/>
                  <a:pt x="1304000" y="2315841"/>
                </a:cubicBezTo>
                <a:cubicBezTo>
                  <a:pt x="1242710" y="2314642"/>
                  <a:pt x="1196861" y="2302469"/>
                  <a:pt x="1196861" y="2338183"/>
                </a:cubicBezTo>
                <a:cubicBezTo>
                  <a:pt x="1196861" y="2596086"/>
                  <a:pt x="1488861" y="2985215"/>
                  <a:pt x="1933726" y="2985215"/>
                </a:cubicBezTo>
                <a:cubicBezTo>
                  <a:pt x="2284049" y="2985215"/>
                  <a:pt x="2509808" y="2766566"/>
                  <a:pt x="2558932" y="2714783"/>
                </a:cubicBezTo>
                <a:cubicBezTo>
                  <a:pt x="2558932" y="2714783"/>
                  <a:pt x="2961456" y="2668357"/>
                  <a:pt x="3219870" y="2668357"/>
                </a:cubicBezTo>
                <a:cubicBezTo>
                  <a:pt x="3470800" y="2668357"/>
                  <a:pt x="3840649" y="2708509"/>
                  <a:pt x="3840649" y="2851310"/>
                </a:cubicBezTo>
                <a:cubicBezTo>
                  <a:pt x="3840649" y="3129869"/>
                  <a:pt x="2934840" y="3569733"/>
                  <a:pt x="2174884" y="3569733"/>
                </a:cubicBezTo>
                <a:cubicBezTo>
                  <a:pt x="1030667" y="3569732"/>
                  <a:pt x="0" y="2948658"/>
                  <a:pt x="0" y="2199858"/>
                </a:cubicBezTo>
                <a:cubicBezTo>
                  <a:pt x="0" y="945107"/>
                  <a:pt x="2423695" y="0"/>
                  <a:pt x="3130587" y="0"/>
                </a:cubicBezTo>
                <a:cubicBezTo>
                  <a:pt x="3767178" y="0"/>
                  <a:pt x="3854023" y="1013050"/>
                  <a:pt x="3854023" y="1383238"/>
                </a:cubicBezTo>
                <a:moveTo>
                  <a:pt x="6890844" y="1356508"/>
                </a:moveTo>
                <a:cubicBezTo>
                  <a:pt x="6804637" y="1356508"/>
                  <a:pt x="6676471" y="1369917"/>
                  <a:pt x="6618362" y="1450194"/>
                </a:cubicBezTo>
                <a:cubicBezTo>
                  <a:pt x="6400819" y="1751148"/>
                  <a:pt x="6256653" y="2503682"/>
                  <a:pt x="6256653" y="2713023"/>
                </a:cubicBezTo>
                <a:cubicBezTo>
                  <a:pt x="6256653" y="2855954"/>
                  <a:pt x="6356046" y="2846834"/>
                  <a:pt x="6488864" y="2846834"/>
                </a:cubicBezTo>
                <a:cubicBezTo>
                  <a:pt x="6566143" y="2846834"/>
                  <a:pt x="6690876" y="2848782"/>
                  <a:pt x="6761289" y="2775499"/>
                </a:cubicBezTo>
                <a:cubicBezTo>
                  <a:pt x="6952423" y="2576571"/>
                  <a:pt x="7117333" y="1675126"/>
                  <a:pt x="7117333" y="1512379"/>
                </a:cubicBezTo>
                <a:cubicBezTo>
                  <a:pt x="7117333" y="1396647"/>
                  <a:pt x="7108987" y="1356508"/>
                  <a:pt x="6890844" y="1356508"/>
                </a:cubicBezTo>
                <a:moveTo>
                  <a:pt x="8328768" y="1316327"/>
                </a:moveTo>
                <a:cubicBezTo>
                  <a:pt x="8328768" y="1659868"/>
                  <a:pt x="7989286" y="2414162"/>
                  <a:pt x="7880215" y="2623709"/>
                </a:cubicBezTo>
                <a:cubicBezTo>
                  <a:pt x="7424178" y="3499802"/>
                  <a:pt x="6814916" y="3493865"/>
                  <a:pt x="6127099" y="3493865"/>
                </a:cubicBezTo>
                <a:cubicBezTo>
                  <a:pt x="5791012" y="3493865"/>
                  <a:pt x="5041936" y="3497742"/>
                  <a:pt x="5041936" y="2869139"/>
                </a:cubicBezTo>
                <a:cubicBezTo>
                  <a:pt x="5041936" y="2587995"/>
                  <a:pt x="5287146" y="2072696"/>
                  <a:pt x="5488520" y="1584104"/>
                </a:cubicBezTo>
                <a:cubicBezTo>
                  <a:pt x="5574145" y="1376320"/>
                  <a:pt x="5938967" y="678232"/>
                  <a:pt x="7181069" y="678232"/>
                </a:cubicBezTo>
                <a:cubicBezTo>
                  <a:pt x="7693415" y="678232"/>
                  <a:pt x="8328768" y="758596"/>
                  <a:pt x="8328768" y="1316327"/>
                </a:cubicBezTo>
              </a:path>
            </a:pathLst>
          </a:custGeom>
          <a:solidFill>
            <a:srgbClr val="EA1B0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6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4572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GB" sz="14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7620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2407206"/>
            <a:ext cx="370836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512764"/>
            <a:ext cx="3708363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4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9424" y="3112945"/>
            <a:ext cx="3708361" cy="287337"/>
          </a:xfr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en-GB" noProof="0" smtClean="0"/>
              <a:pPr/>
              <a:t>04/09/2025</a:t>
            </a:fld>
            <a:endParaRPr lang="en-GB" noProof="0"/>
          </a:p>
        </p:txBody>
      </p:sp>
      <p:sp>
        <p:nvSpPr>
          <p:cNvPr id="11" name="Grafik 11">
            <a:extLst>
              <a:ext uri="{FF2B5EF4-FFF2-40B4-BE49-F238E27FC236}">
                <a16:creationId xmlns:a16="http://schemas.microsoft.com/office/drawing/2014/main" id="{7D5A3E88-3B98-9600-8E07-6503770A4EFB}"/>
              </a:ext>
            </a:extLst>
          </p:cNvPr>
          <p:cNvSpPr>
            <a:spLocks noChangeAspect="1"/>
          </p:cNvSpPr>
          <p:nvPr userDrawn="1"/>
        </p:nvSpPr>
        <p:spPr>
          <a:xfrm>
            <a:off x="479425" y="5824533"/>
            <a:ext cx="1778400" cy="520703"/>
          </a:xfrm>
          <a:custGeom>
            <a:avLst/>
            <a:gdLst>
              <a:gd name="connsiteX0" fmla="*/ 12192000 w 12192000"/>
              <a:gd name="connsiteY0" fmla="*/ 1320881 h 3569732"/>
              <a:gd name="connsiteX1" fmla="*/ 11626234 w 12192000"/>
              <a:gd name="connsiteY1" fmla="*/ 3336532 h 3569732"/>
              <a:gd name="connsiteX2" fmla="*/ 11343268 w 12192000"/>
              <a:gd name="connsiteY2" fmla="*/ 3493865 h 3569732"/>
              <a:gd name="connsiteX3" fmla="*/ 10843621 w 12192000"/>
              <a:gd name="connsiteY3" fmla="*/ 3368594 h 3569732"/>
              <a:gd name="connsiteX4" fmla="*/ 10818543 w 12192000"/>
              <a:gd name="connsiteY4" fmla="*/ 3278906 h 3569732"/>
              <a:gd name="connsiteX5" fmla="*/ 11243050 w 12192000"/>
              <a:gd name="connsiteY5" fmla="*/ 1861035 h 3569732"/>
              <a:gd name="connsiteX6" fmla="*/ 11097628 w 12192000"/>
              <a:gd name="connsiteY6" fmla="*/ 1664382 h 3569732"/>
              <a:gd name="connsiteX7" fmla="*/ 8936174 w 12192000"/>
              <a:gd name="connsiteY7" fmla="*/ 3373408 h 3569732"/>
              <a:gd name="connsiteX8" fmla="*/ 8619106 w 12192000"/>
              <a:gd name="connsiteY8" fmla="*/ 3475999 h 3569732"/>
              <a:gd name="connsiteX9" fmla="*/ 8270715 w 12192000"/>
              <a:gd name="connsiteY9" fmla="*/ 3382303 h 3569732"/>
              <a:gd name="connsiteX10" fmla="*/ 8232508 w 12192000"/>
              <a:gd name="connsiteY10" fmla="*/ 3265797 h 3569732"/>
              <a:gd name="connsiteX11" fmla="*/ 8275217 w 12192000"/>
              <a:gd name="connsiteY11" fmla="*/ 3092264 h 3569732"/>
              <a:gd name="connsiteX12" fmla="*/ 9038830 w 12192000"/>
              <a:gd name="connsiteY12" fmla="*/ 963802 h 3569732"/>
              <a:gd name="connsiteX13" fmla="*/ 9123348 w 12192000"/>
              <a:gd name="connsiteY13" fmla="*/ 905056 h 3569732"/>
              <a:gd name="connsiteX14" fmla="*/ 9373847 w 12192000"/>
              <a:gd name="connsiteY14" fmla="*/ 879013 h 3569732"/>
              <a:gd name="connsiteX15" fmla="*/ 9745385 w 12192000"/>
              <a:gd name="connsiteY15" fmla="*/ 935266 h 3569732"/>
              <a:gd name="connsiteX16" fmla="*/ 9746154 w 12192000"/>
              <a:gd name="connsiteY16" fmla="*/ 1088816 h 3569732"/>
              <a:gd name="connsiteX17" fmla="*/ 9967785 w 12192000"/>
              <a:gd name="connsiteY17" fmla="*/ 1383238 h 3569732"/>
              <a:gd name="connsiteX18" fmla="*/ 11566531 w 12192000"/>
              <a:gd name="connsiteY18" fmla="*/ 763023 h 3569732"/>
              <a:gd name="connsiteX19" fmla="*/ 12192000 w 12192000"/>
              <a:gd name="connsiteY19" fmla="*/ 1320882 h 3569732"/>
              <a:gd name="connsiteX20" fmla="*/ 4970529 w 12192000"/>
              <a:gd name="connsiteY20" fmla="*/ 1833961 h 3569732"/>
              <a:gd name="connsiteX21" fmla="*/ 4857762 w 12192000"/>
              <a:gd name="connsiteY21" fmla="*/ 2186449 h 3569732"/>
              <a:gd name="connsiteX22" fmla="*/ 4372089 w 12192000"/>
              <a:gd name="connsiteY22" fmla="*/ 2440812 h 3569732"/>
              <a:gd name="connsiteX23" fmla="*/ 4041592 w 12192000"/>
              <a:gd name="connsiteY23" fmla="*/ 2213268 h 3569732"/>
              <a:gd name="connsiteX24" fmla="*/ 4144305 w 12192000"/>
              <a:gd name="connsiteY24" fmla="*/ 1891971 h 3569732"/>
              <a:gd name="connsiteX25" fmla="*/ 4648941 w 12192000"/>
              <a:gd name="connsiteY25" fmla="*/ 1610878 h 3569732"/>
              <a:gd name="connsiteX26" fmla="*/ 4970529 w 12192000"/>
              <a:gd name="connsiteY26" fmla="*/ 1833961 h 3569732"/>
              <a:gd name="connsiteX27" fmla="*/ 2867052 w 12192000"/>
              <a:gd name="connsiteY27" fmla="*/ 1298492 h 3569732"/>
              <a:gd name="connsiteX28" fmla="*/ 2733128 w 12192000"/>
              <a:gd name="connsiteY28" fmla="*/ 905786 h 3569732"/>
              <a:gd name="connsiteX29" fmla="*/ 1527312 w 12192000"/>
              <a:gd name="connsiteY29" fmla="*/ 1606364 h 3569732"/>
              <a:gd name="connsiteX30" fmla="*/ 1585376 w 12192000"/>
              <a:gd name="connsiteY30" fmla="*/ 1655443 h 3569732"/>
              <a:gd name="connsiteX31" fmla="*/ 2509808 w 12192000"/>
              <a:gd name="connsiteY31" fmla="*/ 1655443 h 3569732"/>
              <a:gd name="connsiteX32" fmla="*/ 2867052 w 12192000"/>
              <a:gd name="connsiteY32" fmla="*/ 1298492 h 3569732"/>
              <a:gd name="connsiteX33" fmla="*/ 3854023 w 12192000"/>
              <a:gd name="connsiteY33" fmla="*/ 1383238 h 3569732"/>
              <a:gd name="connsiteX34" fmla="*/ 2826875 w 12192000"/>
              <a:gd name="connsiteY34" fmla="*/ 2338183 h 3569732"/>
              <a:gd name="connsiteX35" fmla="*/ 2447310 w 12192000"/>
              <a:gd name="connsiteY35" fmla="*/ 2338183 h 3569732"/>
              <a:gd name="connsiteX36" fmla="*/ 1304000 w 12192000"/>
              <a:gd name="connsiteY36" fmla="*/ 2315841 h 3569732"/>
              <a:gd name="connsiteX37" fmla="*/ 1196861 w 12192000"/>
              <a:gd name="connsiteY37" fmla="*/ 2338183 h 3569732"/>
              <a:gd name="connsiteX38" fmla="*/ 1933726 w 12192000"/>
              <a:gd name="connsiteY38" fmla="*/ 2985215 h 3569732"/>
              <a:gd name="connsiteX39" fmla="*/ 2558932 w 12192000"/>
              <a:gd name="connsiteY39" fmla="*/ 2714783 h 3569732"/>
              <a:gd name="connsiteX40" fmla="*/ 3219870 w 12192000"/>
              <a:gd name="connsiteY40" fmla="*/ 2668357 h 3569732"/>
              <a:gd name="connsiteX41" fmla="*/ 3840649 w 12192000"/>
              <a:gd name="connsiteY41" fmla="*/ 2851310 h 3569732"/>
              <a:gd name="connsiteX42" fmla="*/ 2174884 w 12192000"/>
              <a:gd name="connsiteY42" fmla="*/ 3569733 h 3569732"/>
              <a:gd name="connsiteX43" fmla="*/ 0 w 12192000"/>
              <a:gd name="connsiteY43" fmla="*/ 2199858 h 3569732"/>
              <a:gd name="connsiteX44" fmla="*/ 3130587 w 12192000"/>
              <a:gd name="connsiteY44" fmla="*/ 0 h 3569732"/>
              <a:gd name="connsiteX45" fmla="*/ 3854023 w 12192000"/>
              <a:gd name="connsiteY45" fmla="*/ 1383238 h 3569732"/>
              <a:gd name="connsiteX46" fmla="*/ 6890844 w 12192000"/>
              <a:gd name="connsiteY46" fmla="*/ 1356508 h 3569732"/>
              <a:gd name="connsiteX47" fmla="*/ 6618362 w 12192000"/>
              <a:gd name="connsiteY47" fmla="*/ 1450194 h 3569732"/>
              <a:gd name="connsiteX48" fmla="*/ 6256653 w 12192000"/>
              <a:gd name="connsiteY48" fmla="*/ 2713023 h 3569732"/>
              <a:gd name="connsiteX49" fmla="*/ 6488864 w 12192000"/>
              <a:gd name="connsiteY49" fmla="*/ 2846834 h 3569732"/>
              <a:gd name="connsiteX50" fmla="*/ 6761289 w 12192000"/>
              <a:gd name="connsiteY50" fmla="*/ 2775499 h 3569732"/>
              <a:gd name="connsiteX51" fmla="*/ 7117333 w 12192000"/>
              <a:gd name="connsiteY51" fmla="*/ 1512379 h 3569732"/>
              <a:gd name="connsiteX52" fmla="*/ 6890844 w 12192000"/>
              <a:gd name="connsiteY52" fmla="*/ 1356508 h 3569732"/>
              <a:gd name="connsiteX53" fmla="*/ 8328768 w 12192000"/>
              <a:gd name="connsiteY53" fmla="*/ 1316327 h 3569732"/>
              <a:gd name="connsiteX54" fmla="*/ 7880215 w 12192000"/>
              <a:gd name="connsiteY54" fmla="*/ 2623709 h 3569732"/>
              <a:gd name="connsiteX55" fmla="*/ 6127099 w 12192000"/>
              <a:gd name="connsiteY55" fmla="*/ 3493865 h 3569732"/>
              <a:gd name="connsiteX56" fmla="*/ 5041936 w 12192000"/>
              <a:gd name="connsiteY56" fmla="*/ 2869139 h 3569732"/>
              <a:gd name="connsiteX57" fmla="*/ 5488520 w 12192000"/>
              <a:gd name="connsiteY57" fmla="*/ 1584104 h 3569732"/>
              <a:gd name="connsiteX58" fmla="*/ 7181069 w 12192000"/>
              <a:gd name="connsiteY58" fmla="*/ 678232 h 3569732"/>
              <a:gd name="connsiteX59" fmla="*/ 8328768 w 12192000"/>
              <a:gd name="connsiteY59" fmla="*/ 1316327 h 356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2192000" h="3569732">
                <a:moveTo>
                  <a:pt x="12192000" y="1320881"/>
                </a:moveTo>
                <a:cubicBezTo>
                  <a:pt x="12192000" y="1729102"/>
                  <a:pt x="11705971" y="3126779"/>
                  <a:pt x="11626234" y="3336532"/>
                </a:cubicBezTo>
                <a:cubicBezTo>
                  <a:pt x="11573809" y="3474370"/>
                  <a:pt x="11473385" y="3493865"/>
                  <a:pt x="11343268" y="3493865"/>
                </a:cubicBezTo>
                <a:cubicBezTo>
                  <a:pt x="11107794" y="3493865"/>
                  <a:pt x="10930203" y="3437869"/>
                  <a:pt x="10843621" y="3368594"/>
                </a:cubicBezTo>
                <a:cubicBezTo>
                  <a:pt x="10825671" y="3354342"/>
                  <a:pt x="10803482" y="3323741"/>
                  <a:pt x="10818543" y="3278906"/>
                </a:cubicBezTo>
                <a:cubicBezTo>
                  <a:pt x="10907057" y="3015310"/>
                  <a:pt x="11243050" y="2066104"/>
                  <a:pt x="11243050" y="1861035"/>
                </a:cubicBezTo>
                <a:cubicBezTo>
                  <a:pt x="11243050" y="1748785"/>
                  <a:pt x="11209812" y="1664382"/>
                  <a:pt x="11097628" y="1664382"/>
                </a:cubicBezTo>
                <a:cubicBezTo>
                  <a:pt x="10417596" y="1664382"/>
                  <a:pt x="9168178" y="3114232"/>
                  <a:pt x="8936174" y="3373408"/>
                </a:cubicBezTo>
                <a:cubicBezTo>
                  <a:pt x="8860264" y="3458114"/>
                  <a:pt x="8749035" y="3475999"/>
                  <a:pt x="8619106" y="3475999"/>
                </a:cubicBezTo>
                <a:cubicBezTo>
                  <a:pt x="8458284" y="3475999"/>
                  <a:pt x="8287015" y="3390731"/>
                  <a:pt x="8270715" y="3382303"/>
                </a:cubicBezTo>
                <a:cubicBezTo>
                  <a:pt x="8219865" y="3356047"/>
                  <a:pt x="8217464" y="3327037"/>
                  <a:pt x="8232508" y="3265797"/>
                </a:cubicBezTo>
                <a:lnTo>
                  <a:pt x="8275217" y="3092264"/>
                </a:lnTo>
                <a:cubicBezTo>
                  <a:pt x="8353377" y="2774807"/>
                  <a:pt x="8758189" y="1600306"/>
                  <a:pt x="9038830" y="963802"/>
                </a:cubicBezTo>
                <a:cubicBezTo>
                  <a:pt x="9050759" y="936899"/>
                  <a:pt x="9062407" y="914553"/>
                  <a:pt x="9123348" y="905056"/>
                </a:cubicBezTo>
                <a:cubicBezTo>
                  <a:pt x="9151653" y="900629"/>
                  <a:pt x="9244519" y="879013"/>
                  <a:pt x="9373847" y="879013"/>
                </a:cubicBezTo>
                <a:cubicBezTo>
                  <a:pt x="9468682" y="879013"/>
                  <a:pt x="9652988" y="885759"/>
                  <a:pt x="9745385" y="935266"/>
                </a:cubicBezTo>
                <a:cubicBezTo>
                  <a:pt x="9745385" y="935266"/>
                  <a:pt x="9746154" y="933891"/>
                  <a:pt x="9746154" y="1088816"/>
                </a:cubicBezTo>
                <a:cubicBezTo>
                  <a:pt x="9746154" y="1155729"/>
                  <a:pt x="9753468" y="1383238"/>
                  <a:pt x="9967785" y="1383238"/>
                </a:cubicBezTo>
                <a:cubicBezTo>
                  <a:pt x="10329456" y="1383238"/>
                  <a:pt x="10986024" y="763023"/>
                  <a:pt x="11566531" y="763023"/>
                </a:cubicBezTo>
                <a:cubicBezTo>
                  <a:pt x="12076908" y="763023"/>
                  <a:pt x="12192000" y="1077686"/>
                  <a:pt x="12192000" y="1320882"/>
                </a:cubicBezTo>
                <a:moveTo>
                  <a:pt x="4970529" y="1833961"/>
                </a:moveTo>
                <a:cubicBezTo>
                  <a:pt x="4970529" y="1918715"/>
                  <a:pt x="4871736" y="2151971"/>
                  <a:pt x="4857762" y="2186449"/>
                </a:cubicBezTo>
                <a:cubicBezTo>
                  <a:pt x="4768948" y="2405323"/>
                  <a:pt x="4536043" y="2440812"/>
                  <a:pt x="4372089" y="2440812"/>
                </a:cubicBezTo>
                <a:cubicBezTo>
                  <a:pt x="4126110" y="2440812"/>
                  <a:pt x="4041592" y="2352547"/>
                  <a:pt x="4041592" y="2213268"/>
                </a:cubicBezTo>
                <a:cubicBezTo>
                  <a:pt x="4041592" y="2105470"/>
                  <a:pt x="4132338" y="1919389"/>
                  <a:pt x="4144305" y="1891971"/>
                </a:cubicBezTo>
                <a:cubicBezTo>
                  <a:pt x="4255046" y="1638425"/>
                  <a:pt x="4453288" y="1610878"/>
                  <a:pt x="4648941" y="1610878"/>
                </a:cubicBezTo>
                <a:cubicBezTo>
                  <a:pt x="4814846" y="1610878"/>
                  <a:pt x="4970529" y="1679810"/>
                  <a:pt x="4970529" y="1833961"/>
                </a:cubicBezTo>
                <a:moveTo>
                  <a:pt x="2867052" y="1298492"/>
                </a:moveTo>
                <a:cubicBezTo>
                  <a:pt x="2867052" y="1137078"/>
                  <a:pt x="2859437" y="905786"/>
                  <a:pt x="2733128" y="905786"/>
                </a:cubicBezTo>
                <a:cubicBezTo>
                  <a:pt x="2321976" y="905786"/>
                  <a:pt x="1599742" y="1534037"/>
                  <a:pt x="1527312" y="1606364"/>
                </a:cubicBezTo>
                <a:cubicBezTo>
                  <a:pt x="1473720" y="1659955"/>
                  <a:pt x="1513806" y="1655443"/>
                  <a:pt x="1585376" y="1655443"/>
                </a:cubicBezTo>
                <a:lnTo>
                  <a:pt x="2509808" y="1655443"/>
                </a:lnTo>
                <a:cubicBezTo>
                  <a:pt x="2837341" y="1655443"/>
                  <a:pt x="2867052" y="1600392"/>
                  <a:pt x="2867052" y="1298492"/>
                </a:cubicBezTo>
                <a:moveTo>
                  <a:pt x="3854023" y="1383238"/>
                </a:moveTo>
                <a:cubicBezTo>
                  <a:pt x="3854023" y="2174145"/>
                  <a:pt x="3367093" y="2338183"/>
                  <a:pt x="2826875" y="2338183"/>
                </a:cubicBezTo>
                <a:lnTo>
                  <a:pt x="2447310" y="2338183"/>
                </a:lnTo>
                <a:cubicBezTo>
                  <a:pt x="2067951" y="2338183"/>
                  <a:pt x="1304000" y="2315841"/>
                  <a:pt x="1304000" y="2315841"/>
                </a:cubicBezTo>
                <a:cubicBezTo>
                  <a:pt x="1242710" y="2314642"/>
                  <a:pt x="1196861" y="2302469"/>
                  <a:pt x="1196861" y="2338183"/>
                </a:cubicBezTo>
                <a:cubicBezTo>
                  <a:pt x="1196861" y="2596086"/>
                  <a:pt x="1488861" y="2985215"/>
                  <a:pt x="1933726" y="2985215"/>
                </a:cubicBezTo>
                <a:cubicBezTo>
                  <a:pt x="2284049" y="2985215"/>
                  <a:pt x="2509808" y="2766566"/>
                  <a:pt x="2558932" y="2714783"/>
                </a:cubicBezTo>
                <a:cubicBezTo>
                  <a:pt x="2558932" y="2714783"/>
                  <a:pt x="2961456" y="2668357"/>
                  <a:pt x="3219870" y="2668357"/>
                </a:cubicBezTo>
                <a:cubicBezTo>
                  <a:pt x="3470800" y="2668357"/>
                  <a:pt x="3840649" y="2708509"/>
                  <a:pt x="3840649" y="2851310"/>
                </a:cubicBezTo>
                <a:cubicBezTo>
                  <a:pt x="3840649" y="3129869"/>
                  <a:pt x="2934840" y="3569733"/>
                  <a:pt x="2174884" y="3569733"/>
                </a:cubicBezTo>
                <a:cubicBezTo>
                  <a:pt x="1030667" y="3569732"/>
                  <a:pt x="0" y="2948658"/>
                  <a:pt x="0" y="2199858"/>
                </a:cubicBezTo>
                <a:cubicBezTo>
                  <a:pt x="0" y="945107"/>
                  <a:pt x="2423695" y="0"/>
                  <a:pt x="3130587" y="0"/>
                </a:cubicBezTo>
                <a:cubicBezTo>
                  <a:pt x="3767178" y="0"/>
                  <a:pt x="3854023" y="1013050"/>
                  <a:pt x="3854023" y="1383238"/>
                </a:cubicBezTo>
                <a:moveTo>
                  <a:pt x="6890844" y="1356508"/>
                </a:moveTo>
                <a:cubicBezTo>
                  <a:pt x="6804637" y="1356508"/>
                  <a:pt x="6676471" y="1369917"/>
                  <a:pt x="6618362" y="1450194"/>
                </a:cubicBezTo>
                <a:cubicBezTo>
                  <a:pt x="6400819" y="1751148"/>
                  <a:pt x="6256653" y="2503682"/>
                  <a:pt x="6256653" y="2713023"/>
                </a:cubicBezTo>
                <a:cubicBezTo>
                  <a:pt x="6256653" y="2855954"/>
                  <a:pt x="6356046" y="2846834"/>
                  <a:pt x="6488864" y="2846834"/>
                </a:cubicBezTo>
                <a:cubicBezTo>
                  <a:pt x="6566143" y="2846834"/>
                  <a:pt x="6690876" y="2848782"/>
                  <a:pt x="6761289" y="2775499"/>
                </a:cubicBezTo>
                <a:cubicBezTo>
                  <a:pt x="6952423" y="2576571"/>
                  <a:pt x="7117333" y="1675126"/>
                  <a:pt x="7117333" y="1512379"/>
                </a:cubicBezTo>
                <a:cubicBezTo>
                  <a:pt x="7117333" y="1396647"/>
                  <a:pt x="7108987" y="1356508"/>
                  <a:pt x="6890844" y="1356508"/>
                </a:cubicBezTo>
                <a:moveTo>
                  <a:pt x="8328768" y="1316327"/>
                </a:moveTo>
                <a:cubicBezTo>
                  <a:pt x="8328768" y="1659868"/>
                  <a:pt x="7989286" y="2414162"/>
                  <a:pt x="7880215" y="2623709"/>
                </a:cubicBezTo>
                <a:cubicBezTo>
                  <a:pt x="7424178" y="3499802"/>
                  <a:pt x="6814916" y="3493865"/>
                  <a:pt x="6127099" y="3493865"/>
                </a:cubicBezTo>
                <a:cubicBezTo>
                  <a:pt x="5791012" y="3493865"/>
                  <a:pt x="5041936" y="3497742"/>
                  <a:pt x="5041936" y="2869139"/>
                </a:cubicBezTo>
                <a:cubicBezTo>
                  <a:pt x="5041936" y="2587995"/>
                  <a:pt x="5287146" y="2072696"/>
                  <a:pt x="5488520" y="1584104"/>
                </a:cubicBezTo>
                <a:cubicBezTo>
                  <a:pt x="5574145" y="1376320"/>
                  <a:pt x="5938967" y="678232"/>
                  <a:pt x="7181069" y="678232"/>
                </a:cubicBezTo>
                <a:cubicBezTo>
                  <a:pt x="7693415" y="678232"/>
                  <a:pt x="8328768" y="758596"/>
                  <a:pt x="8328768" y="1316327"/>
                </a:cubicBezTo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697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6C5AA-B723-1B46-A200-44A840E6773F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59941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03AA2-B5CF-DF42-BFD7-E438A8E61E16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76575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4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813353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E2844-2F76-E644-A845-460A05DF696C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84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2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0102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287" y="1816649"/>
            <a:ext cx="3527425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49" y="1816651"/>
            <a:ext cx="3527425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816651"/>
            <a:ext cx="3527424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0F2DB-F57A-AF4E-AE6C-A93AEBE3F34F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147542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1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9" y="1808162"/>
            <a:ext cx="2557461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54A01-68C8-6244-A7C0-65979CD3F425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53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FC4CD-1D60-AC45-8637-25ABD31243B7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1</a:t>
            </a:r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2</a:t>
            </a:r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3</a:t>
            </a:r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4</a:t>
            </a:r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5</a:t>
            </a:r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 err="1"/>
              <a:t>Fusce</a:t>
            </a:r>
            <a:r>
              <a:rPr lang="en-GB" b="0" noProof="0"/>
              <a:t> </a:t>
            </a:r>
            <a:r>
              <a:rPr lang="en-GB" b="0" noProof="0" err="1"/>
              <a:t>tristique</a:t>
            </a:r>
            <a:r>
              <a:rPr lang="en-GB" b="0" noProof="0"/>
              <a:t>, </a:t>
            </a:r>
            <a:r>
              <a:rPr lang="en-GB" b="0" noProof="0" err="1"/>
              <a:t>orci</a:t>
            </a:r>
            <a:r>
              <a:rPr lang="en-GB" b="0" noProof="0"/>
              <a:t> </a:t>
            </a:r>
            <a:r>
              <a:rPr lang="en-GB" b="0" noProof="0" err="1"/>
              <a:t>nec</a:t>
            </a:r>
            <a:r>
              <a:rPr lang="en-GB" b="0" noProof="0"/>
              <a:t> </a:t>
            </a:r>
            <a:r>
              <a:rPr lang="en-GB" b="0" noProof="0" err="1"/>
              <a:t>mollis</a:t>
            </a:r>
            <a:r>
              <a:rPr lang="en-GB" b="0" noProof="0"/>
              <a:t> </a:t>
            </a:r>
            <a:r>
              <a:rPr lang="en-GB" b="0" noProof="0" err="1"/>
              <a:t>aliquet</a:t>
            </a:r>
            <a:r>
              <a:rPr lang="en-GB" b="0" noProof="0"/>
              <a:t>, </a:t>
            </a:r>
            <a:r>
              <a:rPr lang="en-GB" b="0" noProof="0" err="1"/>
              <a:t>tortor</a:t>
            </a:r>
            <a:r>
              <a:rPr lang="en-GB" b="0" noProof="0"/>
              <a:t> </a:t>
            </a:r>
            <a:r>
              <a:rPr lang="en-GB" b="0" noProof="0" err="1"/>
              <a:t>velit</a:t>
            </a:r>
            <a:r>
              <a:rPr lang="en-GB" b="0" noProof="0"/>
              <a:t> </a:t>
            </a:r>
            <a:r>
              <a:rPr lang="en-GB" b="0" noProof="0" err="1"/>
              <a:t>blandit</a:t>
            </a:r>
            <a:r>
              <a:rPr lang="en-GB" b="0" noProof="0"/>
              <a:t> </a:t>
            </a:r>
            <a:r>
              <a:rPr lang="en-GB" b="0" noProof="0" err="1"/>
              <a:t>urna</a:t>
            </a:r>
            <a:r>
              <a:rPr lang="en-GB" b="0" noProof="0"/>
              <a:t>, </a:t>
            </a:r>
            <a:r>
              <a:rPr lang="en-GB" b="0" noProof="0" err="1"/>
              <a:t>sed</a:t>
            </a:r>
            <a:r>
              <a:rPr lang="en-GB" b="0" noProof="0"/>
              <a:t> gravida </a:t>
            </a:r>
            <a:r>
              <a:rPr lang="en-GB" b="0" noProof="0" err="1"/>
              <a:t>odio</a:t>
            </a:r>
            <a:r>
              <a:rPr lang="en-GB" b="0" noProof="0"/>
              <a:t> </a:t>
            </a:r>
            <a:r>
              <a:rPr lang="en-GB" b="0" noProof="0" err="1"/>
              <a:t>quam</a:t>
            </a:r>
            <a:r>
              <a:rPr lang="en-GB" b="0" noProof="0"/>
              <a:t> </a:t>
            </a:r>
            <a:r>
              <a:rPr lang="en-GB" b="0" noProof="0" err="1"/>
              <a:t>ut</a:t>
            </a:r>
            <a:r>
              <a:rPr lang="en-GB" b="0" noProof="0"/>
              <a:t> </a:t>
            </a:r>
            <a:r>
              <a:rPr lang="en-GB" b="0" noProof="0" err="1"/>
              <a:t>leo</a:t>
            </a:r>
            <a:r>
              <a:rPr lang="en-GB" b="0" noProof="0"/>
              <a:t>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noProof="0"/>
              <a:t>DD.MM.YYYY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Next step</a:t>
            </a:r>
          </a:p>
          <a:p>
            <a:pPr lvl="0"/>
            <a:r>
              <a:rPr lang="en-GB" b="0" noProof="0"/>
              <a:t>Fusce tristique, orci nec mollis aliquet, tortor velit blandit urna, sed gravida odio quam ut leo.</a:t>
            </a:r>
            <a:endParaRPr lang="en-GB" noProof="0"/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Head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  <a:p>
            <a:pPr lvl="4"/>
            <a:r>
              <a:rPr lang="en-GB" noProof="0"/>
              <a:t>Text</a:t>
            </a:r>
          </a:p>
          <a:p>
            <a:pPr lvl="5"/>
            <a:r>
              <a:rPr lang="en-GB" noProof="0"/>
              <a:t>Text</a:t>
            </a:r>
          </a:p>
          <a:p>
            <a:pPr lvl="6"/>
            <a:r>
              <a:rPr lang="en-GB" noProof="0"/>
              <a:t>Text</a:t>
            </a:r>
          </a:p>
          <a:p>
            <a:pPr lvl="7"/>
            <a:r>
              <a:rPr lang="en-GB" noProof="0"/>
              <a:t>Text</a:t>
            </a:r>
          </a:p>
          <a:p>
            <a:pPr lvl="8"/>
            <a:r>
              <a:rPr lang="en-GB" noProof="0"/>
              <a:t>Tex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166F76A-4900-864D-B9F6-2488814C2A20}" type="datetime1">
              <a:rPr lang="en-GB" noProof="0" smtClean="0"/>
              <a:t>04/09/2025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New E.ON PowerPoint Mas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0" r:id="rId5"/>
    <p:sldLayoutId id="2147483685" r:id="rId6"/>
    <p:sldLayoutId id="2147483687" r:id="rId7"/>
    <p:sldLayoutId id="2147483681" r:id="rId8"/>
    <p:sldLayoutId id="2147483686" r:id="rId9"/>
    <p:sldLayoutId id="2147483682" r:id="rId10"/>
    <p:sldLayoutId id="2147483656" r:id="rId11"/>
    <p:sldLayoutId id="2147483657" r:id="rId12"/>
    <p:sldLayoutId id="2147483684" r:id="rId13"/>
    <p:sldLayoutId id="2147483691" r:id="rId14"/>
    <p:sldLayoutId id="2147483675" r:id="rId15"/>
    <p:sldLayoutId id="2147483658" r:id="rId16"/>
    <p:sldLayoutId id="2147483671" r:id="rId17"/>
    <p:sldLayoutId id="2147483670" r:id="rId18"/>
    <p:sldLayoutId id="2147483659" r:id="rId19"/>
    <p:sldLayoutId id="2147483660" r:id="rId20"/>
    <p:sldLayoutId id="2147483683" r:id="rId21"/>
    <p:sldLayoutId id="2147483661" r:id="rId22"/>
    <p:sldLayoutId id="2147483664" r:id="rId23"/>
    <p:sldLayoutId id="2147483665" r:id="rId24"/>
    <p:sldLayoutId id="2147483666" r:id="rId25"/>
    <p:sldLayoutId id="2147483667" r:id="rId26"/>
    <p:sldLayoutId id="2147483669" r:id="rId27"/>
    <p:sldLayoutId id="2147483668" r:id="rId28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láb helye 1">
            <a:extLst>
              <a:ext uri="{FF2B5EF4-FFF2-40B4-BE49-F238E27FC236}">
                <a16:creationId xmlns:a16="http://schemas.microsoft.com/office/drawing/2014/main" id="{FBDFBC9E-5182-3AC3-B95F-E71B3BE5D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7FE4D53-B94F-2098-DCC7-F12EC7FFC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1</a:t>
            </a:fld>
            <a:endParaRPr lang="en-GB" noProof="0"/>
          </a:p>
        </p:txBody>
      </p:sp>
      <p:pic>
        <p:nvPicPr>
          <p:cNvPr id="9" name="Kép helye 8" descr="A képen képernyőkép, Digitális képszerkesztés, hold, gömb látható&#10;&#10;Előfordulhat, hogy az AI által létrehozott tartalom helytelen.">
            <a:extLst>
              <a:ext uri="{FF2B5EF4-FFF2-40B4-BE49-F238E27FC236}">
                <a16:creationId xmlns:a16="http://schemas.microsoft.com/office/drawing/2014/main" id="{E40A1894-A1FF-200D-1710-262D0AA7A22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>
            <a:fillRect/>
          </a:stretch>
        </p:blipFill>
        <p:spPr/>
      </p:pic>
      <p:sp>
        <p:nvSpPr>
          <p:cNvPr id="5" name="Alcím 4">
            <a:extLst>
              <a:ext uri="{FF2B5EF4-FFF2-40B4-BE49-F238E27FC236}">
                <a16:creationId xmlns:a16="http://schemas.microsoft.com/office/drawing/2014/main" id="{DA6DC362-4A3C-E03E-4C97-82CECA8BD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5527202"/>
            <a:ext cx="5616575" cy="1056341"/>
          </a:xfrm>
        </p:spPr>
        <p:txBody>
          <a:bodyPr/>
          <a:lstStyle/>
          <a:p>
            <a:r>
              <a:rPr lang="hu-HU" b="1" dirty="0"/>
              <a:t>challengeon.hu</a:t>
            </a:r>
            <a:br>
              <a:rPr lang="hu-HU" b="1" dirty="0"/>
            </a:br>
            <a:r>
              <a:rPr lang="hu-HU" b="1" dirty="0"/>
              <a:t>challengeon@eon-hungaria.com</a:t>
            </a:r>
          </a:p>
        </p:txBody>
      </p:sp>
      <p:sp>
        <p:nvSpPr>
          <p:cNvPr id="6" name="Cím 5">
            <a:extLst>
              <a:ext uri="{FF2B5EF4-FFF2-40B4-BE49-F238E27FC236}">
                <a16:creationId xmlns:a16="http://schemas.microsoft.com/office/drawing/2014/main" id="{2244FF23-A332-1D36-784F-007EC55DE3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Challenge.ON 2025</a:t>
            </a:r>
          </a:p>
        </p:txBody>
      </p:sp>
      <p:sp>
        <p:nvSpPr>
          <p:cNvPr id="4" name="Szöveg helye 6">
            <a:extLst>
              <a:ext uri="{FF2B5EF4-FFF2-40B4-BE49-F238E27FC236}">
                <a16:creationId xmlns:a16="http://schemas.microsoft.com/office/drawing/2014/main" id="{F1C2363D-2A27-FB76-677E-3B1BD70356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32576" y="5765508"/>
            <a:ext cx="1980000" cy="579730"/>
          </a:xfrm>
        </p:spPr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25404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ép helye 8" descr="A képen képernyőkép, Digitális képszerkesztés, hold, gömb látható&#10;&#10;Előfordulhat, hogy az AI által létrehozott tartalom helytelen.">
            <a:extLst>
              <a:ext uri="{FF2B5EF4-FFF2-40B4-BE49-F238E27FC236}">
                <a16:creationId xmlns:a16="http://schemas.microsoft.com/office/drawing/2014/main" id="{6EDD4A0D-23CB-F1AF-8D6B-786E285253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81" b="57083"/>
          <a:stretch>
            <a:fillRect/>
          </a:stretch>
        </p:blipFill>
        <p:spPr>
          <a:xfrm>
            <a:off x="0" y="4975504"/>
            <a:ext cx="12192000" cy="2052638"/>
          </a:xfrm>
          <a:prstGeom prst="rect">
            <a:avLst/>
          </a:prstGeom>
        </p:spPr>
      </p:pic>
      <p:sp>
        <p:nvSpPr>
          <p:cNvPr id="14" name="Téglalap: lekerekített 13">
            <a:extLst>
              <a:ext uri="{FF2B5EF4-FFF2-40B4-BE49-F238E27FC236}">
                <a16:creationId xmlns:a16="http://schemas.microsoft.com/office/drawing/2014/main" id="{DBFEAC77-88A1-B534-7D04-688DA800FB0E}"/>
              </a:ext>
            </a:extLst>
          </p:cNvPr>
          <p:cNvSpPr/>
          <p:nvPr/>
        </p:nvSpPr>
        <p:spPr>
          <a:xfrm>
            <a:off x="5916000" y="512763"/>
            <a:ext cx="5760720" cy="40801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1200"/>
              </a:spcAft>
            </a:pPr>
            <a:endParaRPr lang="hu-HU" sz="1400" dirty="0"/>
          </a:p>
        </p:txBody>
      </p:sp>
      <p:sp>
        <p:nvSpPr>
          <p:cNvPr id="2" name="Élőláb helye 1">
            <a:extLst>
              <a:ext uri="{FF2B5EF4-FFF2-40B4-BE49-F238E27FC236}">
                <a16:creationId xmlns:a16="http://schemas.microsoft.com/office/drawing/2014/main" id="{13D61053-875C-6FA1-CACA-E6D02863C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73812"/>
            <a:ext cx="5436000" cy="138499"/>
          </a:xfrm>
        </p:spPr>
        <p:txBody>
          <a:bodyPr/>
          <a:lstStyle/>
          <a:p>
            <a:r>
              <a:rPr lang="hu-HU" sz="2000" b="1" dirty="0">
                <a:solidFill>
                  <a:schemeClr val="bg1"/>
                </a:solidFill>
              </a:rPr>
              <a:t>challengeon.hu, challengeon@eon-hungaria.com</a:t>
            </a:r>
            <a:endParaRPr lang="en-GB" sz="2000" b="1" noProof="0" dirty="0">
              <a:solidFill>
                <a:schemeClr val="bg1"/>
              </a:solidFill>
            </a:endParaRP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CA10227C-2272-C85C-7EE0-5231F334C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2</a:t>
            </a:fld>
            <a:endParaRPr lang="en-GB" noProof="0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965FB5E2-7769-5891-E0EF-331DB32276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8"/>
            <a:ext cx="5436000" cy="4387861"/>
          </a:xfrm>
        </p:spPr>
        <p:txBody>
          <a:bodyPr/>
          <a:lstStyle/>
          <a:p>
            <a:r>
              <a:rPr lang="hu-HU" sz="2400" i="1" dirty="0">
                <a:solidFill>
                  <a:srgbClr val="FF0000"/>
                </a:solidFill>
              </a:rPr>
              <a:t>Mutasd meg kreativitásod és </a:t>
            </a:r>
            <a:br>
              <a:rPr lang="hu-HU" sz="2400" i="1" dirty="0">
                <a:solidFill>
                  <a:srgbClr val="FF0000"/>
                </a:solidFill>
              </a:rPr>
            </a:br>
            <a:r>
              <a:rPr lang="hu-HU" sz="2400" i="1" dirty="0">
                <a:solidFill>
                  <a:srgbClr val="FF0000"/>
                </a:solidFill>
              </a:rPr>
              <a:t>mérnöki tudásod egy különleges, </a:t>
            </a:r>
            <a:br>
              <a:rPr lang="hu-HU" sz="2400" i="1" dirty="0">
                <a:solidFill>
                  <a:srgbClr val="FF0000"/>
                </a:solidFill>
              </a:rPr>
            </a:br>
            <a:r>
              <a:rPr lang="hu-HU" sz="2400" i="1" dirty="0">
                <a:solidFill>
                  <a:srgbClr val="FF0000"/>
                </a:solidFill>
              </a:rPr>
              <a:t>szabadulószoba-hangulatú verseny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Háromfős csapatok </a:t>
            </a:r>
            <a:br>
              <a:rPr lang="hu-HU" dirty="0"/>
            </a:br>
            <a:r>
              <a:rPr lang="hu-HU" dirty="0"/>
              <a:t>(2 villamosmérnök + 1 fő lehet más szakterületrő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Valós mérnöki problémák megoldá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Élmény, kihívás és értékes nyeremények</a:t>
            </a:r>
          </a:p>
        </p:txBody>
      </p:sp>
      <p:sp>
        <p:nvSpPr>
          <p:cNvPr id="6" name="Cím 5">
            <a:extLst>
              <a:ext uri="{FF2B5EF4-FFF2-40B4-BE49-F238E27FC236}">
                <a16:creationId xmlns:a16="http://schemas.microsoft.com/office/drawing/2014/main" id="{38B6303C-E3F4-58A9-26B9-1FC483B16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Csatlakozz a </a:t>
            </a:r>
            <a:br>
              <a:rPr lang="hu-HU" dirty="0"/>
            </a:br>
            <a:r>
              <a:rPr lang="hu-HU" dirty="0"/>
              <a:t>Challenge.ON versenyhez!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11ECBEE1-2F42-225C-C559-3BBC236DFA45}"/>
              </a:ext>
            </a:extLst>
          </p:cNvPr>
          <p:cNvSpPr txBox="1"/>
          <p:nvPr/>
        </p:nvSpPr>
        <p:spPr>
          <a:xfrm>
            <a:off x="6275389" y="592019"/>
            <a:ext cx="5436000" cy="39754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hu-HU" b="1" dirty="0">
                <a:solidFill>
                  <a:schemeClr val="bg1"/>
                </a:solidFill>
              </a:rPr>
              <a:t>Értékes nyeremények várnak!</a:t>
            </a:r>
          </a:p>
          <a:p>
            <a:pPr marL="285750" indent="-2857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1"/>
                </a:solidFill>
              </a:rPr>
              <a:t>1. helyezett csapat: </a:t>
            </a:r>
            <a:br>
              <a:rPr lang="hu-HU" dirty="0">
                <a:solidFill>
                  <a:schemeClr val="bg1"/>
                </a:solidFill>
              </a:rPr>
            </a:br>
            <a:r>
              <a:rPr lang="hu-HU" dirty="0">
                <a:solidFill>
                  <a:schemeClr val="bg1"/>
                </a:solidFill>
              </a:rPr>
              <a:t>750 000 Ft értékű műszaki cikk utalvány</a:t>
            </a:r>
          </a:p>
          <a:p>
            <a:pPr marL="285750" indent="-2857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1"/>
                </a:solidFill>
              </a:rPr>
              <a:t>2. helyezett csapat: </a:t>
            </a:r>
            <a:br>
              <a:rPr lang="hu-HU" dirty="0">
                <a:solidFill>
                  <a:schemeClr val="bg1"/>
                </a:solidFill>
              </a:rPr>
            </a:br>
            <a:r>
              <a:rPr lang="hu-HU" dirty="0">
                <a:solidFill>
                  <a:schemeClr val="bg1"/>
                </a:solidFill>
              </a:rPr>
              <a:t>450 000 Ft értékű műszaki cikk utalvány</a:t>
            </a:r>
          </a:p>
          <a:p>
            <a:pPr marL="285750" indent="-2857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1"/>
                </a:solidFill>
              </a:rPr>
              <a:t>3. helyezett csapat: </a:t>
            </a:r>
            <a:br>
              <a:rPr lang="hu-HU" dirty="0">
                <a:solidFill>
                  <a:schemeClr val="bg1"/>
                </a:solidFill>
              </a:rPr>
            </a:br>
            <a:r>
              <a:rPr lang="hu-HU" dirty="0">
                <a:solidFill>
                  <a:schemeClr val="bg1"/>
                </a:solidFill>
              </a:rPr>
              <a:t>270.000 Ft értékű műszaki cikk utalvány</a:t>
            </a:r>
          </a:p>
          <a:p>
            <a:pPr marL="285750" indent="-2857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1"/>
                </a:solidFill>
              </a:rPr>
              <a:t>4-7. helyezett csapat: </a:t>
            </a:r>
            <a:br>
              <a:rPr lang="hu-HU" dirty="0">
                <a:solidFill>
                  <a:schemeClr val="bg1"/>
                </a:solidFill>
              </a:rPr>
            </a:br>
            <a:r>
              <a:rPr lang="hu-HU" dirty="0">
                <a:solidFill>
                  <a:schemeClr val="bg1"/>
                </a:solidFill>
              </a:rPr>
              <a:t>90.000 Ft értékű műszaki cikk utalvány</a:t>
            </a:r>
          </a:p>
          <a:p>
            <a:pPr marL="285750" indent="-285750" defTabSz="54000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1"/>
                </a:solidFill>
              </a:rPr>
              <a:t>A válogatók résztvevőit is szuper meglepetésekkel, ajándékokkal várjuk</a:t>
            </a:r>
          </a:p>
        </p:txBody>
      </p:sp>
      <p:sp>
        <p:nvSpPr>
          <p:cNvPr id="20" name="Dia számának helye 2">
            <a:extLst>
              <a:ext uri="{FF2B5EF4-FFF2-40B4-BE49-F238E27FC236}">
                <a16:creationId xmlns:a16="http://schemas.microsoft.com/office/drawing/2014/main" id="{84094250-A24C-57C9-D701-3A32DE0111F0}"/>
              </a:ext>
            </a:extLst>
          </p:cNvPr>
          <p:cNvSpPr txBox="1">
            <a:spLocks/>
          </p:cNvSpPr>
          <p:nvPr/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FFFE70-FC19-4A94-9D10-0B3C8E890CB2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554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1BDC60D9-EA8B-5ECC-9E1F-3ED8DEA3C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4004778D-1BC6-C19D-0D72-7A76F752C00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6575" y="1808163"/>
            <a:ext cx="5436000" cy="3529647"/>
          </a:xfrm>
        </p:spPr>
        <p:txBody>
          <a:bodyPr/>
          <a:lstStyle/>
          <a:p>
            <a:r>
              <a:rPr lang="hu-HU" sz="1600" b="1" dirty="0">
                <a:solidFill>
                  <a:schemeClr val="accent1"/>
                </a:solidFill>
              </a:rPr>
              <a:t>Döntő</a:t>
            </a:r>
          </a:p>
          <a:p>
            <a:r>
              <a:rPr lang="hu-HU" sz="1600" b="1" dirty="0"/>
              <a:t>📍</a:t>
            </a:r>
            <a:r>
              <a:rPr lang="hu-HU" sz="1600" b="1" dirty="0">
                <a:solidFill>
                  <a:schemeClr val="accent1"/>
                </a:solidFill>
              </a:rPr>
              <a:t>Klauzál Ház (Budafok), 2025. október 16. 13-15.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Egyetemek csatája: </a:t>
            </a:r>
            <a:r>
              <a:rPr lang="hu-HU" sz="1600" dirty="0"/>
              <a:t>a döntőbe hét egyetem villamosmérnöki </a:t>
            </a:r>
            <a:r>
              <a:rPr lang="hu-HU" sz="1600" dirty="0" err="1"/>
              <a:t>karáról</a:t>
            </a:r>
            <a:r>
              <a:rPr lang="hu-HU" sz="1600" dirty="0"/>
              <a:t> juthat be 1-1 csap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Golden </a:t>
            </a:r>
            <a:r>
              <a:rPr lang="hu-HU" sz="1600" b="1" dirty="0" err="1"/>
              <a:t>ticket</a:t>
            </a:r>
            <a:r>
              <a:rPr lang="hu-HU" sz="1600" b="1" dirty="0"/>
              <a:t>: </a:t>
            </a:r>
            <a:r>
              <a:rPr lang="hu-HU" sz="1600" dirty="0"/>
              <a:t>a válogatókról egy csapat a zsűri döntése alapján </a:t>
            </a:r>
            <a:r>
              <a:rPr lang="hu-HU" sz="1600" dirty="0" err="1"/>
              <a:t>golden</a:t>
            </a:r>
            <a:r>
              <a:rPr lang="hu-HU" sz="1600" dirty="0"/>
              <a:t> </a:t>
            </a:r>
            <a:r>
              <a:rPr lang="hu-HU" sz="1600" dirty="0" err="1"/>
              <a:t>ticketet</a:t>
            </a:r>
            <a:r>
              <a:rPr lang="hu-HU" sz="1600" dirty="0"/>
              <a:t> szerez a döntőre, és automatikusan a döntő 2. fordulójába kerü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A döntő két fordulóból áll:</a:t>
            </a:r>
          </a:p>
          <a:p>
            <a:pPr marL="558900" lvl="1" indent="-342900">
              <a:buFont typeface="+mj-lt"/>
              <a:buAutoNum type="arabicPeriod"/>
            </a:pPr>
            <a:r>
              <a:rPr lang="hu-HU" sz="1600" b="1" dirty="0"/>
              <a:t>Rövid </a:t>
            </a:r>
            <a:r>
              <a:rPr lang="hu-HU" sz="1600" b="1" dirty="0" err="1"/>
              <a:t>pitch</a:t>
            </a:r>
            <a:r>
              <a:rPr lang="hu-HU" sz="1600" b="1" dirty="0"/>
              <a:t> </a:t>
            </a:r>
            <a:r>
              <a:rPr lang="hu-HU" sz="1600" dirty="0"/>
              <a:t>egy előre megadott témában (kivéve a </a:t>
            </a:r>
            <a:r>
              <a:rPr lang="hu-HU" sz="1600" dirty="0" err="1"/>
              <a:t>golden</a:t>
            </a:r>
            <a:r>
              <a:rPr lang="hu-HU" sz="1600" dirty="0"/>
              <a:t> </a:t>
            </a:r>
            <a:r>
              <a:rPr lang="hu-HU" sz="1600" dirty="0" err="1"/>
              <a:t>tickettel</a:t>
            </a:r>
            <a:r>
              <a:rPr lang="hu-HU" sz="1600" dirty="0"/>
              <a:t> rendelkező csapat)</a:t>
            </a:r>
          </a:p>
          <a:p>
            <a:pPr marL="558900" lvl="1" indent="-342900">
              <a:buFont typeface="+mj-lt"/>
              <a:buAutoNum type="arabicPeriod"/>
            </a:pPr>
            <a:r>
              <a:rPr lang="hu-HU" sz="1600" b="1" dirty="0"/>
              <a:t>Finálé: </a:t>
            </a:r>
            <a:r>
              <a:rPr lang="hu-HU" sz="1600" dirty="0"/>
              <a:t>Területfoglalós játék mérnöki kihívásokkal</a:t>
            </a:r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B3FBCE55-EE91-749A-DCCF-2923FD43F26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hu-HU" sz="1600" b="1" dirty="0">
                <a:solidFill>
                  <a:schemeClr val="accent1"/>
                </a:solidFill>
              </a:rPr>
              <a:t>Válogató</a:t>
            </a:r>
          </a:p>
          <a:p>
            <a:r>
              <a:rPr lang="hu-HU" sz="1600" dirty="0"/>
              <a:t>📍</a:t>
            </a:r>
            <a:r>
              <a:rPr lang="hu-HU" sz="1600" b="1" dirty="0">
                <a:solidFill>
                  <a:schemeClr val="accent1"/>
                </a:solidFill>
              </a:rPr>
              <a:t>Bécsi út A épület Aula – 2025. okt. 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Regisztráció: </a:t>
            </a:r>
            <a:r>
              <a:rPr lang="hu-HU" sz="1600" dirty="0"/>
              <a:t>9-13.00 között bármik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Játék:</a:t>
            </a:r>
          </a:p>
          <a:p>
            <a:pPr marL="501750" lvl="1" indent="-285750"/>
            <a:r>
              <a:rPr lang="hu-HU" sz="1600" dirty="0"/>
              <a:t>a játék időtartama 1-2 óra, amit 9-14 óra között bármikor teljesíthettek</a:t>
            </a:r>
          </a:p>
          <a:p>
            <a:pPr marL="501750" lvl="1" indent="-285750"/>
            <a:r>
              <a:rPr lang="hu-HU" sz="1600" dirty="0"/>
              <a:t>szabadulószoba hangulatú mérnöki kihívás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/>
              <a:t>Zsűrizés: </a:t>
            </a:r>
          </a:p>
          <a:p>
            <a:pPr marL="501750" lvl="1" indent="-285750"/>
            <a:r>
              <a:rPr lang="hu-HU" sz="1600" dirty="0"/>
              <a:t>14 órától meg kell jelennetek a bírák előtt egy 1,5 perces beszédre (PPT-t nem kell készíteni, de lehet)</a:t>
            </a:r>
          </a:p>
          <a:p>
            <a:pPr marL="501750" lvl="1" indent="-285750"/>
            <a:r>
              <a:rPr lang="hu-HU" sz="1600" dirty="0"/>
              <a:t>A döntőbe a zsűri által legjobbnak ítélt csapat jut</a:t>
            </a:r>
          </a:p>
          <a:p>
            <a:pPr marL="501750" lvl="1" indent="-285750"/>
            <a:r>
              <a:rPr lang="hu-HU" sz="1600" dirty="0"/>
              <a:t>Tervezett zsűri: ÓE részéről: Borsos Döníz és Szén István, E.ON részéről: Markovics Zsolt és még egy vezető munkatárs</a:t>
            </a:r>
          </a:p>
          <a:p>
            <a:endParaRPr lang="hu-HU" sz="1600" dirty="0"/>
          </a:p>
          <a:p>
            <a:endParaRPr lang="hu-HU" sz="1600" dirty="0"/>
          </a:p>
        </p:txBody>
      </p:sp>
      <p:sp>
        <p:nvSpPr>
          <p:cNvPr id="6" name="Cím 5">
            <a:extLst>
              <a:ext uri="{FF2B5EF4-FFF2-40B4-BE49-F238E27FC236}">
                <a16:creationId xmlns:a16="http://schemas.microsoft.com/office/drawing/2014/main" id="{39FF864D-172F-0468-C0FF-FB5A19D60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03602"/>
            <a:ext cx="11232000" cy="886397"/>
          </a:xfrm>
        </p:spPr>
        <p:txBody>
          <a:bodyPr/>
          <a:lstStyle/>
          <a:p>
            <a:r>
              <a:rPr lang="hu-HU" dirty="0"/>
              <a:t>Képzeld el, hogy 2442 van, </a:t>
            </a:r>
            <a:br>
              <a:rPr lang="hu-HU" dirty="0"/>
            </a:br>
            <a:r>
              <a:rPr lang="hu-HU" dirty="0"/>
              <a:t>és neked kell megmenteni a Föld energiarendszerét…</a:t>
            </a:r>
            <a:br>
              <a:rPr lang="hu-HU" dirty="0"/>
            </a:br>
            <a:endParaRPr lang="hu-HU" dirty="0"/>
          </a:p>
        </p:txBody>
      </p:sp>
      <p:sp>
        <p:nvSpPr>
          <p:cNvPr id="7" name="Élőláb helye 1">
            <a:extLst>
              <a:ext uri="{FF2B5EF4-FFF2-40B4-BE49-F238E27FC236}">
                <a16:creationId xmlns:a16="http://schemas.microsoft.com/office/drawing/2014/main" id="{087772B6-1DFB-41E8-7324-00B66EE9B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73812"/>
            <a:ext cx="5436000" cy="138499"/>
          </a:xfrm>
        </p:spPr>
        <p:txBody>
          <a:bodyPr vert="horz" wrap="none" lIns="0" tIns="0" rIns="0" bIns="0" rtlCol="0" anchor="t">
            <a:noAutofit/>
          </a:bodyPr>
          <a:lstStyle/>
          <a:p>
            <a:r>
              <a:rPr lang="hu-HU" dirty="0"/>
              <a:t>challengeon.hu, challengeon@eon-hungaria.com</a:t>
            </a:r>
            <a:endParaRPr lang="en-GB" dirty="0"/>
          </a:p>
        </p:txBody>
      </p:sp>
      <p:sp>
        <p:nvSpPr>
          <p:cNvPr id="9" name="Cím 5">
            <a:extLst>
              <a:ext uri="{FF2B5EF4-FFF2-40B4-BE49-F238E27FC236}">
                <a16:creationId xmlns:a16="http://schemas.microsoft.com/office/drawing/2014/main" id="{35C8A2F5-790B-C394-B420-08019B111511}"/>
              </a:ext>
            </a:extLst>
          </p:cNvPr>
          <p:cNvSpPr txBox="1">
            <a:spLocks/>
          </p:cNvSpPr>
          <p:nvPr/>
        </p:nvSpPr>
        <p:spPr bwMode="gray">
          <a:xfrm>
            <a:off x="6489503" y="5556664"/>
            <a:ext cx="4775999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400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hu-HU" sz="2400" dirty="0"/>
              <a:t>Részletes játékszabály, témák és jelentkezés: challengeon.hu</a:t>
            </a:r>
            <a:br>
              <a:rPr lang="hu-HU" sz="2400" dirty="0"/>
            </a:b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851644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DA9994AA-7983-7CDC-E9CC-950CC5E73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4</a:t>
            </a:fld>
            <a:endParaRPr lang="en-GB" noProof="0"/>
          </a:p>
        </p:txBody>
      </p:sp>
      <p:pic>
        <p:nvPicPr>
          <p:cNvPr id="8" name="Kép helye 7" descr="A képen hegy, ég, személy, kültéri látható&#10;&#10;Előfordulhat, hogy az AI által létrehozott tartalom helytelen.">
            <a:extLst>
              <a:ext uri="{FF2B5EF4-FFF2-40B4-BE49-F238E27FC236}">
                <a16:creationId xmlns:a16="http://schemas.microsoft.com/office/drawing/2014/main" id="{C7720297-ED0E-3035-E2D7-1F005FC064B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5" r="6875"/>
          <a:stretch>
            <a:fillRect/>
          </a:stretch>
        </p:blipFill>
        <p:spPr/>
      </p:pic>
      <p:sp>
        <p:nvSpPr>
          <p:cNvPr id="5" name="Tartalom helye 4">
            <a:extLst>
              <a:ext uri="{FF2B5EF4-FFF2-40B4-BE49-F238E27FC236}">
                <a16:creationId xmlns:a16="http://schemas.microsoft.com/office/drawing/2014/main" id="{1F5171D6-A88D-0DE6-EB72-22FCB3DEAA1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hu-HU" b="1" dirty="0"/>
              <a:t>Részletes játékszabály, témák és jelentkezés:</a:t>
            </a:r>
          </a:p>
          <a:p>
            <a:r>
              <a:rPr lang="hu-HU" b="1" dirty="0">
                <a:solidFill>
                  <a:schemeClr val="accent1"/>
                </a:solidFill>
              </a:rPr>
              <a:t>challengeon.hu</a:t>
            </a:r>
          </a:p>
          <a:p>
            <a:endParaRPr lang="hu-HU" dirty="0"/>
          </a:p>
          <a:p>
            <a:r>
              <a:rPr lang="hu-HU" b="1" dirty="0"/>
              <a:t>E-mail:</a:t>
            </a:r>
          </a:p>
          <a:p>
            <a:r>
              <a:rPr lang="hu-HU" b="1" dirty="0">
                <a:solidFill>
                  <a:schemeClr val="accent1"/>
                </a:solidFill>
              </a:rPr>
              <a:t>challengeon@eon-hungaria.com</a:t>
            </a:r>
          </a:p>
        </p:txBody>
      </p:sp>
      <p:sp>
        <p:nvSpPr>
          <p:cNvPr id="6" name="Cím 5">
            <a:extLst>
              <a:ext uri="{FF2B5EF4-FFF2-40B4-BE49-F238E27FC236}">
                <a16:creationId xmlns:a16="http://schemas.microsoft.com/office/drawing/2014/main" id="{A5E71592-FCF1-424E-390F-5681CA72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apcsolat</a:t>
            </a:r>
          </a:p>
        </p:txBody>
      </p:sp>
      <p:sp>
        <p:nvSpPr>
          <p:cNvPr id="9" name="Élőláb helye 1">
            <a:extLst>
              <a:ext uri="{FF2B5EF4-FFF2-40B4-BE49-F238E27FC236}">
                <a16:creationId xmlns:a16="http://schemas.microsoft.com/office/drawing/2014/main" id="{AB032C00-7AC1-5444-E587-D06CA128F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73812"/>
            <a:ext cx="5436000" cy="138499"/>
          </a:xfrm>
        </p:spPr>
        <p:txBody>
          <a:bodyPr vert="horz" wrap="none" lIns="0" tIns="0" rIns="0" bIns="0" rtlCol="0" anchor="t">
            <a:noAutofit/>
          </a:bodyPr>
          <a:lstStyle/>
          <a:p>
            <a:r>
              <a:rPr lang="hu-HU" dirty="0"/>
              <a:t>challengeon.hu, challengeon@eon-hungaria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853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láb helye 1">
            <a:extLst>
              <a:ext uri="{FF2B5EF4-FFF2-40B4-BE49-F238E27FC236}">
                <a16:creationId xmlns:a16="http://schemas.microsoft.com/office/drawing/2014/main" id="{0461A162-1989-95CE-E46D-2A40C195E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New E.ON PowerPoint Master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1F6A6F62-A053-4D8B-2F2B-5E4EF851E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5</a:t>
            </a:fld>
            <a:endParaRPr lang="en-GB" noProof="0"/>
          </a:p>
        </p:txBody>
      </p:sp>
      <p:sp>
        <p:nvSpPr>
          <p:cNvPr id="6" name="Cím 5">
            <a:extLst>
              <a:ext uri="{FF2B5EF4-FFF2-40B4-BE49-F238E27FC236}">
                <a16:creationId xmlns:a16="http://schemas.microsoft.com/office/drawing/2014/main" id="{FF9E8338-2776-5D0D-763D-16187E159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„A végét a gépek számolták ki, </a:t>
            </a:r>
            <a:br>
              <a:rPr lang="hu-HU" dirty="0"/>
            </a:br>
            <a:r>
              <a:rPr lang="nl-NL" dirty="0"/>
              <a:t>de az új kezdetet az emberek </a:t>
            </a:r>
            <a:br>
              <a:rPr lang="nl-NL" dirty="0"/>
            </a:br>
            <a:r>
              <a:rPr lang="hu-HU" dirty="0"/>
              <a:t>álmodták meg...”</a:t>
            </a:r>
          </a:p>
        </p:txBody>
      </p:sp>
    </p:spTree>
    <p:extLst>
      <p:ext uri="{BB962C8B-B14F-4D97-AF65-F5344CB8AC3E}">
        <p14:creationId xmlns:p14="http://schemas.microsoft.com/office/powerpoint/2010/main" val="1762525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églalap: lekerekített 9">
            <a:extLst>
              <a:ext uri="{FF2B5EF4-FFF2-40B4-BE49-F238E27FC236}">
                <a16:creationId xmlns:a16="http://schemas.microsoft.com/office/drawing/2014/main" id="{19AB517E-85A3-45C6-3E28-32E3E00AE059}"/>
              </a:ext>
            </a:extLst>
          </p:cNvPr>
          <p:cNvSpPr/>
          <p:nvPr/>
        </p:nvSpPr>
        <p:spPr>
          <a:xfrm>
            <a:off x="7420868" y="512763"/>
            <a:ext cx="4396799" cy="273706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spcAft>
                <a:spcPts val="1200"/>
              </a:spcAft>
            </a:pPr>
            <a:endParaRPr lang="hu-HU" sz="1400" dirty="0"/>
          </a:p>
        </p:txBody>
      </p:sp>
      <p:sp>
        <p:nvSpPr>
          <p:cNvPr id="2" name="Élőláb helye 1">
            <a:extLst>
              <a:ext uri="{FF2B5EF4-FFF2-40B4-BE49-F238E27FC236}">
                <a16:creationId xmlns:a16="http://schemas.microsoft.com/office/drawing/2014/main" id="{DBC726D8-8991-DF75-3F27-C552580FA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/>
              <a:t>challengeon.hu, challengeon@eon-hungaria.com</a:t>
            </a:r>
            <a:endParaRPr lang="en-GB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12AF0FC-4836-64E0-80A3-17769277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6</a:t>
            </a:fld>
            <a:endParaRPr lang="en-GB" noProof="0"/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6EF41AAA-5D45-9265-CA1D-15B1BC35BA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000" y="3507183"/>
            <a:ext cx="11232000" cy="3725941"/>
          </a:xfrm>
        </p:spPr>
        <p:txBody>
          <a:bodyPr numCol="2"/>
          <a:lstStyle/>
          <a:p>
            <a:pPr>
              <a:spcAft>
                <a:spcPts val="0"/>
              </a:spcAft>
            </a:pPr>
            <a:r>
              <a:rPr lang="hu-HU" sz="1400" b="1" dirty="0"/>
              <a:t>Ember és rendszer kapcsolata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1. Mit jelent az, hogy az ember az energiarendszer része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Lehet-e a fogyasztói döntés részben mérnöki döntés is? </a:t>
            </a:r>
          </a:p>
          <a:p>
            <a:pPr>
              <a:spcAft>
                <a:spcPts val="0"/>
              </a:spcAft>
            </a:pPr>
            <a:r>
              <a:rPr lang="hu-HU" sz="1400" b="1" dirty="0"/>
              <a:t>Technológia és automatizálás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1. Hogyan segíthetnek az okoseszközök, szenzorok és algoritmusok a fogyasztás optimalizálásában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Meddig lehet a felelősséget áthárítani a technológiára? </a:t>
            </a:r>
          </a:p>
          <a:p>
            <a:pPr>
              <a:spcAft>
                <a:spcPts val="0"/>
              </a:spcAft>
            </a:pPr>
            <a:r>
              <a:rPr lang="hu-HU" sz="1400" b="1" dirty="0"/>
              <a:t>Társadalmi felelősség és kollektív tudatosság </a:t>
            </a:r>
          </a:p>
          <a:p>
            <a:pPr>
              <a:spcAft>
                <a:spcPts val="0"/>
              </a:spcAft>
            </a:pPr>
            <a:r>
              <a:rPr lang="pt-BR" sz="1400" dirty="0"/>
              <a:t>1. Lehet-e az energiatudatosság kulturális norma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Hogyan lehet közösségeket bevonni a terheléskiegyenlítésbe? </a:t>
            </a:r>
          </a:p>
          <a:p>
            <a:pPr>
              <a:spcAft>
                <a:spcPts val="0"/>
              </a:spcAft>
            </a:pPr>
            <a:endParaRPr lang="hu-HU" sz="1400" dirty="0"/>
          </a:p>
          <a:p>
            <a:pPr>
              <a:spcAft>
                <a:spcPts val="0"/>
              </a:spcAft>
            </a:pPr>
            <a:endParaRPr lang="hu-HU" sz="1400" dirty="0"/>
          </a:p>
          <a:p>
            <a:pPr>
              <a:spcAft>
                <a:spcPts val="0"/>
              </a:spcAft>
            </a:pPr>
            <a:endParaRPr lang="hu-HU" sz="1400" dirty="0"/>
          </a:p>
          <a:p>
            <a:pPr>
              <a:spcAft>
                <a:spcPts val="0"/>
              </a:spcAft>
            </a:pPr>
            <a:endParaRPr lang="hu-HU" sz="1400" dirty="0"/>
          </a:p>
          <a:p>
            <a:pPr>
              <a:spcAft>
                <a:spcPts val="0"/>
              </a:spcAft>
            </a:pPr>
            <a:r>
              <a:rPr lang="hu-HU" sz="1400" b="1" dirty="0"/>
              <a:t>Etikai dilemmák és igazságosság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1. Mi a szerepe az egyenlő hozzáférésnek az energiához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Igazságos-e a differenciált árazás, például a csúcsidőszaki díjak bevezetése? </a:t>
            </a:r>
          </a:p>
          <a:p>
            <a:pPr>
              <a:spcAft>
                <a:spcPts val="0"/>
              </a:spcAft>
            </a:pPr>
            <a:r>
              <a:rPr lang="hu-HU" sz="1400" b="1" dirty="0"/>
              <a:t>Motiváció és viselkedésváltozás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1. Mi készteti az embereket tudatosabb energiahasználatra? Ár? Tudás? Közösségi nyomás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Hogyan lehet pozitív példákon keresztül elérni viselkedésbeli változást? </a:t>
            </a:r>
          </a:p>
          <a:p>
            <a:pPr>
              <a:spcAft>
                <a:spcPts val="0"/>
              </a:spcAft>
            </a:pPr>
            <a:r>
              <a:rPr lang="hu-HU" sz="1400" b="1" dirty="0"/>
              <a:t>Jövőkép és önreflexió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1. Milyen jövőképet képvisel az a társadalom, amely alkalmazkodik az energiarendszerhez? </a:t>
            </a:r>
          </a:p>
          <a:p>
            <a:pPr>
              <a:spcAft>
                <a:spcPts val="0"/>
              </a:spcAft>
            </a:pPr>
            <a:r>
              <a:rPr lang="hu-HU" sz="1400" dirty="0"/>
              <a:t>2. Milyen szerepet szán benne az ember önmagának: passzív fogyasztóként vagy aktív résztvevőként? </a:t>
            </a:r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3B66B55C-C484-A40E-35AB-5A456D9CE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Válogató: tematika a bírák előtt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8E973B1E-597F-2048-4C84-4DBF7B24AA6E}"/>
              </a:ext>
            </a:extLst>
          </p:cNvPr>
          <p:cNvSpPr txBox="1"/>
          <p:nvPr/>
        </p:nvSpPr>
        <p:spPr>
          <a:xfrm>
            <a:off x="374333" y="1311087"/>
            <a:ext cx="6940868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hu-HU" sz="1400" b="1" dirty="0"/>
              <a:t>Olyan kérdéseket kell megválaszolni, amelyek segítenek megérteni, miként lehet a villamosenergia-termelés és -fogyasztás közötti egyensúlyt nem csak technológiai, hanem emberi oldalról is fenntartani.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hu-HU" sz="1400" dirty="0"/>
              <a:t>Háromféle erőműtípus működik az energiarendszerben: 1. Alaperőművek – olcsók, de nem szabályozhatók. 2 Menetrendtartó erőművek – szabályozhatók, de csak előre meghatározott terv szerint. 3. Csúcserőművek – gyorsak, de nagyon drágák.  Az emberek energiafogyasztása ezzel szemben ad-hoc módon történik: bármikor bekapcsolhatjuk az eszközeinket, anélkül, hogy figyelembe vennénk a rendszer terhelését. </a:t>
            </a:r>
          </a:p>
          <a:p>
            <a:r>
              <a:rPr lang="hu-HU" sz="1400" i="1" dirty="0">
                <a:solidFill>
                  <a:schemeClr val="accent1"/>
                </a:solidFill>
              </a:rPr>
              <a:t>Megválaszolható kérdések a 1,5 perces beszédben: </a:t>
            </a:r>
            <a:endParaRPr lang="hu-HU" sz="1400" dirty="0">
              <a:solidFill>
                <a:schemeClr val="accent1"/>
              </a:solidFill>
            </a:endParaRP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79BB60F9-3D2B-1D42-E0E4-756E4BC8AC40}"/>
              </a:ext>
            </a:extLst>
          </p:cNvPr>
          <p:cNvSpPr txBox="1"/>
          <p:nvPr/>
        </p:nvSpPr>
        <p:spPr>
          <a:xfrm>
            <a:off x="7668544" y="692634"/>
            <a:ext cx="3922094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i="0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A zsűri azt figyeli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400" b="1" i="0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Értik-e a versenyzők az energiarendszer fizikai és technológiai működését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400" b="1" i="0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Képesek-e társadalmi, etikai és emberi szempontokat is behozni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400" b="1" i="0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Tudnak-e valós, mégis innovatív megoldásokat javasolni? </a:t>
            </a:r>
          </a:p>
          <a:p>
            <a:endParaRPr lang="hu-HU" sz="1400" b="1" dirty="0">
              <a:solidFill>
                <a:schemeClr val="bg1"/>
              </a:solidFill>
              <a:latin typeface="EON Brix Sans" panose="020B0500000000000000" pitchFamily="34" charset="-18"/>
            </a:endParaRPr>
          </a:p>
          <a:p>
            <a:r>
              <a:rPr lang="hu-HU" sz="1400" i="1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A beszélgetéshez PPT-t lehet készíteni, </a:t>
            </a:r>
            <a:br>
              <a:rPr lang="hu-HU" sz="1400" i="1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</a:br>
            <a:r>
              <a:rPr lang="hu-HU" sz="1400" i="1" u="none" strike="noStrike" baseline="0" dirty="0">
                <a:solidFill>
                  <a:schemeClr val="bg1"/>
                </a:solidFill>
                <a:latin typeface="EON Brix Sans" panose="020B0500000000000000" pitchFamily="34" charset="-18"/>
              </a:rPr>
              <a:t>de nem elvárt, és nem is szempontja a zsűrizésnek, hogy készült-e a csapat ezzel.</a:t>
            </a:r>
          </a:p>
        </p:txBody>
      </p:sp>
    </p:spTree>
    <p:extLst>
      <p:ext uri="{BB962C8B-B14F-4D97-AF65-F5344CB8AC3E}">
        <p14:creationId xmlns:p14="http://schemas.microsoft.com/office/powerpoint/2010/main" val="2961106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láb helye 1">
            <a:extLst>
              <a:ext uri="{FF2B5EF4-FFF2-40B4-BE49-F238E27FC236}">
                <a16:creationId xmlns:a16="http://schemas.microsoft.com/office/drawing/2014/main" id="{E58B0157-64FF-7E62-B00B-485CFEF55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/>
              <a:t>challengeon.hu, challengeon@eon-hungaria.com</a:t>
            </a:r>
            <a:endParaRPr lang="en-GB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DE409ACC-4174-D7DF-0524-B3572578C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en-GB" noProof="0" smtClean="0"/>
              <a:pPr/>
              <a:t>7</a:t>
            </a:fld>
            <a:endParaRPr lang="en-GB" noProof="0"/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0DEF3038-EDDA-32DA-B470-74576EA1483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609487"/>
            <a:ext cx="11232000" cy="4636893"/>
          </a:xfrm>
        </p:spPr>
        <p:txBody>
          <a:bodyPr/>
          <a:lstStyle/>
          <a:p>
            <a:pPr defTabSz="914400">
              <a:lnSpc>
                <a:spcPct val="100000"/>
              </a:lnSpc>
              <a:spcAft>
                <a:spcPts val="600"/>
              </a:spcAft>
            </a:pPr>
            <a:r>
              <a:rPr lang="hu-HU" sz="1400" b="1" dirty="0">
                <a:solidFill>
                  <a:schemeClr val="accent1"/>
                </a:solidFill>
              </a:rPr>
              <a:t>Tervezett témák: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Az energiarendszer új egyensúlya, a termelés és fogyasztás összehangolása. Milyen villamosmérnöki eszközök és rendszerek segíthetnek abban, hogy a lakossági és ipari fogyasztás alkalmazkodjon a megújuló energiák időjárásfüggő termeléséhez, miközben a rendszer stabil marad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A fogyasztó, mint aktív szereplő: </a:t>
            </a:r>
            <a:r>
              <a:rPr lang="hu-HU" sz="1400" dirty="0" err="1"/>
              <a:t>Prosumer</a:t>
            </a:r>
            <a:r>
              <a:rPr lang="hu-HU" sz="1400" dirty="0"/>
              <a:t> modell és energiatudatosság. Milyen műszaki feltételei vannak annak, hogy a fogyasztó saját energiatermelését (pl. napelem, tároló) intelligensen illessze a hálózathoz, és hogyan kell ezt mérnöki oldalról támogatni? 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Energia, mint társadalmi igazságossági kérdés. Esélyegyenlőség az energiafelhasználásban. Hogyan alakítható ki egy olyan műszakilag is működőképes energiarendszer, amely lehetővé teszi, hogy különböző szociális és gazdasági hátterű emberek is részt vehessenek a fogyasztás optimalizálásában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Technológia és algoritmus: döntést a fogyasztásról. Hogyan lehet olyan vezérlési rendszereket és algoritmusokat tervezni, amelyek képesek automatizáltan igazítani a fogyasztást a rendszerállapothoz, de az ember számára átláthatók és befolyásolhatók maradnak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Közösségi energiafogyasztás, energiaközösségek. Milyen villamosmérnöki megoldások szükségesek egy lokális energiaközösség működtetéséhez, ahol a fogyasztás összehangolása nem egyéni, hanem közösségi szinten történik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Viselkedéstudomány és energiapolitika: motiváció és reguláció. Hogyan lehet mérnöki eszközökkel (pl. adatelemzés, vizuális visszajelzés, vezérlőplatformok) támogatni az energiatudatos magatartás kialakulását a lakosság körében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Etikai és jövőbeli kérdések: az ember felelőssége. Hogyan építhető be a villamosmérnöki rendszertervezésbe az egyéni és közösségi fogyasztói magatartás alakításának lehetősége és felelőssége?</a:t>
            </a:r>
          </a:p>
          <a:p>
            <a:pPr marL="342900" lvl="0" indent="-342900" defTabSz="9144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hu-HU" sz="1400" dirty="0"/>
              <a:t>Oktatás és szemléletformálás, edukáció a gyakorlatban. Hogyan segíthetnek mérnöki eszközök (pl. szimulációk, intelligens eszközök, adatvizualizáció) abban, hogy az új generációk már alapértelmezett módon az energiarendszerhez alkalmazkodó módon fogyasszanak?</a:t>
            </a:r>
          </a:p>
          <a:p>
            <a:pPr lvl="0" defTabSz="914400">
              <a:lnSpc>
                <a:spcPct val="100000"/>
              </a:lnSpc>
              <a:spcAft>
                <a:spcPts val="600"/>
              </a:spcAft>
            </a:pPr>
            <a:br>
              <a:rPr lang="hu-HU" sz="1400" i="1" dirty="0"/>
            </a:br>
            <a:r>
              <a:rPr lang="hu-HU" sz="1400" i="1" dirty="0"/>
              <a:t>* Kivéve a Golden </a:t>
            </a:r>
            <a:r>
              <a:rPr lang="hu-HU" sz="1400" i="1" dirty="0" err="1"/>
              <a:t>tickettel</a:t>
            </a:r>
            <a:r>
              <a:rPr lang="hu-HU" sz="1400" i="1" dirty="0"/>
              <a:t> rendelkező csapat, ők automatikusan a döntő második fordulójába kerülnek</a:t>
            </a:r>
          </a:p>
          <a:p>
            <a:endParaRPr lang="hu-HU" dirty="0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D8FF2F67-D1CF-FECC-1BD5-EE88637B8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Döntő </a:t>
            </a:r>
            <a:r>
              <a:rPr lang="hu-HU" dirty="0" err="1"/>
              <a:t>pitch</a:t>
            </a:r>
            <a:r>
              <a:rPr lang="hu-HU" dirty="0"/>
              <a:t> tematikák: előre megadott témában kell majd egy előadást tartani a döntő első fordulójában*</a:t>
            </a:r>
          </a:p>
        </p:txBody>
      </p:sp>
    </p:spTree>
    <p:extLst>
      <p:ext uri="{BB962C8B-B14F-4D97-AF65-F5344CB8AC3E}">
        <p14:creationId xmlns:p14="http://schemas.microsoft.com/office/powerpoint/2010/main" val="1143146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_2024-05-02.pptx" id="{0206D5E6-5062-4286-A867-5B217FA8F690}" vid="{91EED338-B89F-41DA-BC56-111418877839}"/>
    </a:ext>
  </a:extLst>
</a:theme>
</file>

<file path=ppt/theme/theme2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19ad5e-d540-4d7d-89a2-8679c3ea98ff">
      <Terms xmlns="http://schemas.microsoft.com/office/infopath/2007/PartnerControls"/>
    </lcf76f155ced4ddcb4097134ff3c332f>
    <TaxCatchAll xmlns="835b5ac7-b491-4c41-85a4-215107c45879" xsi:nil="true"/>
    <SharedWithUsers xmlns="835b5ac7-b491-4c41-85a4-215107c45879">
      <UserInfo>
        <DisplayName>Sebastian Emmel (Peter Schmidt Group)</DisplayName>
        <AccountId>20</AccountId>
        <AccountType/>
      </UserInfo>
      <UserInfo>
        <DisplayName>Fabio Prata (Peter Schmidt Group)</DisplayName>
        <AccountId>28</AccountId>
        <AccountType/>
      </UserInfo>
    </SharedWithUsers>
    <DeletionDate xmlns="d019ad5e-d540-4d7d-89a2-8679c3ea98ff" xsi:nil="true"/>
    <RetentionDate xmlns="d019ad5e-d540-4d7d-89a2-8679c3ea98f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3CD9E27D1D74680601A7852A9B312" ma:contentTypeVersion="18" ma:contentTypeDescription="Create a new document." ma:contentTypeScope="" ma:versionID="1d6dd2ec40a4a54d9c6c3ab3215d2648">
  <xsd:schema xmlns:xsd="http://www.w3.org/2001/XMLSchema" xmlns:xs="http://www.w3.org/2001/XMLSchema" xmlns:p="http://schemas.microsoft.com/office/2006/metadata/properties" xmlns:ns2="d019ad5e-d540-4d7d-89a2-8679c3ea98ff" xmlns:ns3="835b5ac7-b491-4c41-85a4-215107c45879" targetNamespace="http://schemas.microsoft.com/office/2006/metadata/properties" ma:root="true" ma:fieldsID="8e2ea1aefb477e3cedf2cbb163fd4aa5" ns2:_="" ns3:_="">
    <xsd:import namespace="d019ad5e-d540-4d7d-89a2-8679c3ea98ff"/>
    <xsd:import namespace="835b5ac7-b491-4c41-85a4-215107c458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RetentionDate" minOccurs="0"/>
                <xsd:element ref="ns2:Dele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19ad5e-d540-4d7d-89a2-8679c3ea98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d2bc115-f314-4df2-a102-4eef0e4978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  <xsd:element name="RetentionDate" ma:index="24" nillable="true" ma:displayName="RetentionDate" ma:format="DateOnly" ma:internalName="RetentionDate">
      <xsd:simpleType>
        <xsd:restriction base="dms:DateTime"/>
      </xsd:simpleType>
    </xsd:element>
    <xsd:element name="DeletionDate" ma:index="25" nillable="true" ma:displayName="DeletionDate" ma:format="DateOnly" ma:internalName="Deletion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5b5ac7-b491-4c41-85a4-215107c4587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1cd4e91-8004-4897-a03c-f3ee2d3cb6cd}" ma:internalName="TaxCatchAll" ma:showField="CatchAllData" ma:web="835b5ac7-b491-4c41-85a4-215107c458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575DA2-38B3-4D6C-BE45-A5618476C8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B9F5CF-2DCE-49DD-AA36-81101D395492}">
  <ds:schemaRefs>
    <ds:schemaRef ds:uri="http://purl.org/dc/terms/"/>
    <ds:schemaRef ds:uri="d019ad5e-d540-4d7d-89a2-8679c3ea98ff"/>
    <ds:schemaRef ds:uri="http://www.w3.org/XML/1998/namespace"/>
    <ds:schemaRef ds:uri="835b5ac7-b491-4c41-85a4-215107c45879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908F96A-4E8C-4C3B-AFE0-E257589D5B8A}"/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478</TotalTime>
  <Words>1060</Words>
  <Application>Microsoft Office PowerPoint</Application>
  <PresentationFormat>Szélesvásznú</PresentationFormat>
  <Paragraphs>97</Paragraphs>
  <Slides>7</Slides>
  <Notes>0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11" baseType="lpstr">
      <vt:lpstr>EON Brix Sans</vt:lpstr>
      <vt:lpstr>EON Office Head</vt:lpstr>
      <vt:lpstr>Arial</vt:lpstr>
      <vt:lpstr>E.ON</vt:lpstr>
      <vt:lpstr>Challenge.ON 2025</vt:lpstr>
      <vt:lpstr>Csatlakozz a  Challenge.ON versenyhez!</vt:lpstr>
      <vt:lpstr>Képzeld el, hogy 2442 van,  és neked kell megmenteni a Föld energiarendszerét… </vt:lpstr>
      <vt:lpstr>Kapcsolat</vt:lpstr>
      <vt:lpstr>„A végét a gépek számolták ki,  de az új kezdetet az emberek  álmodták meg...”</vt:lpstr>
      <vt:lpstr>Válogató: tematika a bírák előtt</vt:lpstr>
      <vt:lpstr>Döntő pitch tematikák: előre megadott témában kell majd egy előadást tartani a döntő első fordulójában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Markovics, Zsolt</dc:creator>
  <dc:description/>
  <cp:lastModifiedBy>Süveges, Judit</cp:lastModifiedBy>
  <cp:revision>24</cp:revision>
  <cp:lastPrinted>2025-02-26T07:31:48Z</cp:lastPrinted>
  <dcterms:created xsi:type="dcterms:W3CDTF">2025-01-29T11:12:54Z</dcterms:created>
  <dcterms:modified xsi:type="dcterms:W3CDTF">2025-09-04T08:5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3CD9E27D1D74680601A7852A9B312</vt:lpwstr>
  </property>
  <property fmtid="{D5CDD505-2E9C-101B-9397-08002B2CF9AE}" pid="3" name="MediaServiceImageTags">
    <vt:lpwstr/>
  </property>
</Properties>
</file>